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10"/>
  </p:notesMasterIdLst>
  <p:sldIdLst>
    <p:sldId id="270" r:id="rId2"/>
    <p:sldId id="273" r:id="rId3"/>
    <p:sldId id="274" r:id="rId4"/>
    <p:sldId id="278" r:id="rId5"/>
    <p:sldId id="277" r:id="rId6"/>
    <p:sldId id="276" r:id="rId7"/>
    <p:sldId id="279" r:id="rId8"/>
    <p:sldId id="280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6" d="100"/>
          <a:sy n="76" d="100"/>
        </p:scale>
        <p:origin x="27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nnavittula, Ambareesh" userId="f197d401-430a-41cd-858d-78eb301305a2" providerId="ADAL" clId="{BE20AC99-93ED-40B9-92A6-10F199198C69}"/>
    <pc:docChg chg="undo redo custSel addSld delSld modSld sldOrd delMainMaster">
      <pc:chgData name="Jonnavittula, Ambareesh" userId="f197d401-430a-41cd-858d-78eb301305a2" providerId="ADAL" clId="{BE20AC99-93ED-40B9-92A6-10F199198C69}" dt="2022-04-26T12:05:37.497" v="3785" actId="20577"/>
      <pc:docMkLst>
        <pc:docMk/>
      </pc:docMkLst>
      <pc:sldChg chg="modSp del">
        <pc:chgData name="Jonnavittula, Ambareesh" userId="f197d401-430a-41cd-858d-78eb301305a2" providerId="ADAL" clId="{BE20AC99-93ED-40B9-92A6-10F199198C69}" dt="2022-04-26T09:09:31.083" v="696" actId="2696"/>
        <pc:sldMkLst>
          <pc:docMk/>
          <pc:sldMk cId="2435075766" sldId="258"/>
        </pc:sldMkLst>
        <pc:spChg chg="mod">
          <ac:chgData name="Jonnavittula, Ambareesh" userId="f197d401-430a-41cd-858d-78eb301305a2" providerId="ADAL" clId="{BE20AC99-93ED-40B9-92A6-10F199198C69}" dt="2022-04-25T13:45:09.644" v="659" actId="20577"/>
          <ac:spMkLst>
            <pc:docMk/>
            <pc:sldMk cId="2435075766" sldId="258"/>
            <ac:spMk id="4" creationId="{00000000-0000-0000-0000-000000000000}"/>
          </ac:spMkLst>
        </pc:spChg>
      </pc:sldChg>
      <pc:sldChg chg="modSp del">
        <pc:chgData name="Jonnavittula, Ambareesh" userId="f197d401-430a-41cd-858d-78eb301305a2" providerId="ADAL" clId="{BE20AC99-93ED-40B9-92A6-10F199198C69}" dt="2022-04-26T10:15:02.854" v="2279" actId="2696"/>
        <pc:sldMkLst>
          <pc:docMk/>
          <pc:sldMk cId="135786923" sldId="260"/>
        </pc:sldMkLst>
        <pc:spChg chg="mod">
          <ac:chgData name="Jonnavittula, Ambareesh" userId="f197d401-430a-41cd-858d-78eb301305a2" providerId="ADAL" clId="{BE20AC99-93ED-40B9-92A6-10F199198C69}" dt="2022-04-26T09:24:07.566" v="1091" actId="404"/>
          <ac:spMkLst>
            <pc:docMk/>
            <pc:sldMk cId="135786923" sldId="260"/>
            <ac:spMk id="6" creationId="{4DEC3EB5-25A8-4474-BDA7-0F911C4434D7}"/>
          </ac:spMkLst>
        </pc:spChg>
        <pc:spChg chg="mod">
          <ac:chgData name="Jonnavittula, Ambareesh" userId="f197d401-430a-41cd-858d-78eb301305a2" providerId="ADAL" clId="{BE20AC99-93ED-40B9-92A6-10F199198C69}" dt="2022-04-26T09:24:07.566" v="1091" actId="404"/>
          <ac:spMkLst>
            <pc:docMk/>
            <pc:sldMk cId="135786923" sldId="260"/>
            <ac:spMk id="8" creationId="{58CE85F7-0BEE-4572-9322-E0D0D53F62C4}"/>
          </ac:spMkLst>
        </pc:spChg>
        <pc:spChg chg="mod">
          <ac:chgData name="Jonnavittula, Ambareesh" userId="f197d401-430a-41cd-858d-78eb301305a2" providerId="ADAL" clId="{BE20AC99-93ED-40B9-92A6-10F199198C69}" dt="2022-04-26T09:24:32.987" v="1094" actId="1076"/>
          <ac:spMkLst>
            <pc:docMk/>
            <pc:sldMk cId="135786923" sldId="260"/>
            <ac:spMk id="9" creationId="{E4EA8CE8-6199-4CC3-9D76-789FCAB14904}"/>
          </ac:spMkLst>
        </pc:spChg>
        <pc:spChg chg="mod">
          <ac:chgData name="Jonnavittula, Ambareesh" userId="f197d401-430a-41cd-858d-78eb301305a2" providerId="ADAL" clId="{BE20AC99-93ED-40B9-92A6-10F199198C69}" dt="2022-04-26T09:24:42.931" v="1098" actId="1076"/>
          <ac:spMkLst>
            <pc:docMk/>
            <pc:sldMk cId="135786923" sldId="260"/>
            <ac:spMk id="10" creationId="{C311A3E3-24D8-45AD-9615-42EEE1CCD04C}"/>
          </ac:spMkLst>
        </pc:spChg>
        <pc:spChg chg="mod">
          <ac:chgData name="Jonnavittula, Ambareesh" userId="f197d401-430a-41cd-858d-78eb301305a2" providerId="ADAL" clId="{BE20AC99-93ED-40B9-92A6-10F199198C69}" dt="2022-04-26T09:24:07.566" v="1091" actId="404"/>
          <ac:spMkLst>
            <pc:docMk/>
            <pc:sldMk cId="135786923" sldId="260"/>
            <ac:spMk id="12" creationId="{FB6223AD-AA7D-4728-AAA0-1E7FA00D835D}"/>
          </ac:spMkLst>
        </pc:spChg>
        <pc:spChg chg="mod">
          <ac:chgData name="Jonnavittula, Ambareesh" userId="f197d401-430a-41cd-858d-78eb301305a2" providerId="ADAL" clId="{BE20AC99-93ED-40B9-92A6-10F199198C69}" dt="2022-04-26T09:24:07.566" v="1091" actId="404"/>
          <ac:spMkLst>
            <pc:docMk/>
            <pc:sldMk cId="135786923" sldId="260"/>
            <ac:spMk id="24" creationId="{7868017C-040E-4486-90E7-BE565DBD6596}"/>
          </ac:spMkLst>
        </pc:spChg>
        <pc:spChg chg="mod">
          <ac:chgData name="Jonnavittula, Ambareesh" userId="f197d401-430a-41cd-858d-78eb301305a2" providerId="ADAL" clId="{BE20AC99-93ED-40B9-92A6-10F199198C69}" dt="2022-04-26T09:24:41.018" v="1097" actId="1076"/>
          <ac:spMkLst>
            <pc:docMk/>
            <pc:sldMk cId="135786923" sldId="260"/>
            <ac:spMk id="30" creationId="{06552594-B085-4077-A20A-E247CB4A909B}"/>
          </ac:spMkLst>
        </pc:spChg>
        <pc:spChg chg="mod">
          <ac:chgData name="Jonnavittula, Ambareesh" userId="f197d401-430a-41cd-858d-78eb301305a2" providerId="ADAL" clId="{BE20AC99-93ED-40B9-92A6-10F199198C69}" dt="2022-04-26T09:24:51.515" v="1101" actId="1076"/>
          <ac:spMkLst>
            <pc:docMk/>
            <pc:sldMk cId="135786923" sldId="260"/>
            <ac:spMk id="31" creationId="{F3A2BED6-EEBC-457C-94BD-8D8AC7226034}"/>
          </ac:spMkLst>
        </pc:spChg>
        <pc:spChg chg="mod">
          <ac:chgData name="Jonnavittula, Ambareesh" userId="f197d401-430a-41cd-858d-78eb301305a2" providerId="ADAL" clId="{BE20AC99-93ED-40B9-92A6-10F199198C69}" dt="2022-04-26T09:24:07.566" v="1091" actId="404"/>
          <ac:spMkLst>
            <pc:docMk/>
            <pc:sldMk cId="135786923" sldId="260"/>
            <ac:spMk id="32" creationId="{3635DD47-BB26-4648-9DDD-491EAAD2DA35}"/>
          </ac:spMkLst>
        </pc:spChg>
        <pc:spChg chg="mod">
          <ac:chgData name="Jonnavittula, Ambareesh" userId="f197d401-430a-41cd-858d-78eb301305a2" providerId="ADAL" clId="{BE20AC99-93ED-40B9-92A6-10F199198C69}" dt="2022-04-26T09:24:07.566" v="1091" actId="404"/>
          <ac:spMkLst>
            <pc:docMk/>
            <pc:sldMk cId="135786923" sldId="260"/>
            <ac:spMk id="33" creationId="{7114ADFE-4CDE-47EA-ADDC-E4CBDC7ECEE6}"/>
          </ac:spMkLst>
        </pc:spChg>
        <pc:spChg chg="mod">
          <ac:chgData name="Jonnavittula, Ambareesh" userId="f197d401-430a-41cd-858d-78eb301305a2" providerId="ADAL" clId="{BE20AC99-93ED-40B9-92A6-10F199198C69}" dt="2022-04-26T09:24:07.566" v="1091" actId="404"/>
          <ac:spMkLst>
            <pc:docMk/>
            <pc:sldMk cId="135786923" sldId="260"/>
            <ac:spMk id="34" creationId="{1CC109C4-C214-4AF9-AAF7-C5A8992C9F59}"/>
          </ac:spMkLst>
        </pc:spChg>
        <pc:spChg chg="mod">
          <ac:chgData name="Jonnavittula, Ambareesh" userId="f197d401-430a-41cd-858d-78eb301305a2" providerId="ADAL" clId="{BE20AC99-93ED-40B9-92A6-10F199198C69}" dt="2022-04-26T09:24:07.566" v="1091" actId="404"/>
          <ac:spMkLst>
            <pc:docMk/>
            <pc:sldMk cId="135786923" sldId="260"/>
            <ac:spMk id="35" creationId="{DE8AE71C-0880-46D0-BE65-0872977EBA90}"/>
          </ac:spMkLst>
        </pc:spChg>
        <pc:spChg chg="mod">
          <ac:chgData name="Jonnavittula, Ambareesh" userId="f197d401-430a-41cd-858d-78eb301305a2" providerId="ADAL" clId="{BE20AC99-93ED-40B9-92A6-10F199198C69}" dt="2022-04-26T09:24:07.566" v="1091" actId="404"/>
          <ac:spMkLst>
            <pc:docMk/>
            <pc:sldMk cId="135786923" sldId="260"/>
            <ac:spMk id="50" creationId="{9664A662-9D63-4B02-BDA6-5C358E4BE770}"/>
          </ac:spMkLst>
        </pc:spChg>
        <pc:spChg chg="mod">
          <ac:chgData name="Jonnavittula, Ambareesh" userId="f197d401-430a-41cd-858d-78eb301305a2" providerId="ADAL" clId="{BE20AC99-93ED-40B9-92A6-10F199198C69}" dt="2022-04-26T09:24:07.566" v="1091" actId="404"/>
          <ac:spMkLst>
            <pc:docMk/>
            <pc:sldMk cId="135786923" sldId="260"/>
            <ac:spMk id="53" creationId="{3C9F3753-C4BA-4656-9A3C-1952E1C63802}"/>
          </ac:spMkLst>
        </pc:spChg>
        <pc:spChg chg="mod">
          <ac:chgData name="Jonnavittula, Ambareesh" userId="f197d401-430a-41cd-858d-78eb301305a2" providerId="ADAL" clId="{BE20AC99-93ED-40B9-92A6-10F199198C69}" dt="2022-04-26T09:24:07.566" v="1091" actId="404"/>
          <ac:spMkLst>
            <pc:docMk/>
            <pc:sldMk cId="135786923" sldId="260"/>
            <ac:spMk id="64" creationId="{E432EDEB-FC25-41EE-B858-950D713468A6}"/>
          </ac:spMkLst>
        </pc:spChg>
        <pc:spChg chg="mod">
          <ac:chgData name="Jonnavittula, Ambareesh" userId="f197d401-430a-41cd-858d-78eb301305a2" providerId="ADAL" clId="{BE20AC99-93ED-40B9-92A6-10F199198C69}" dt="2022-04-26T09:24:07.566" v="1091" actId="404"/>
          <ac:spMkLst>
            <pc:docMk/>
            <pc:sldMk cId="135786923" sldId="260"/>
            <ac:spMk id="74" creationId="{8D7A7F3B-6F81-4FB3-BD7B-CB06E46CEC11}"/>
          </ac:spMkLst>
        </pc:spChg>
        <pc:spChg chg="mod">
          <ac:chgData name="Jonnavittula, Ambareesh" userId="f197d401-430a-41cd-858d-78eb301305a2" providerId="ADAL" clId="{BE20AC99-93ED-40B9-92A6-10F199198C69}" dt="2022-04-26T09:24:07.566" v="1091" actId="404"/>
          <ac:spMkLst>
            <pc:docMk/>
            <pc:sldMk cId="135786923" sldId="260"/>
            <ac:spMk id="81" creationId="{2DCBB450-857A-44A5-BD51-F58750327132}"/>
          </ac:spMkLst>
        </pc:spChg>
        <pc:spChg chg="mod">
          <ac:chgData name="Jonnavittula, Ambareesh" userId="f197d401-430a-41cd-858d-78eb301305a2" providerId="ADAL" clId="{BE20AC99-93ED-40B9-92A6-10F199198C69}" dt="2022-04-26T09:24:07.566" v="1091" actId="404"/>
          <ac:spMkLst>
            <pc:docMk/>
            <pc:sldMk cId="135786923" sldId="260"/>
            <ac:spMk id="92" creationId="{316F9D65-9D62-4021-8710-8BBE393E2E51}"/>
          </ac:spMkLst>
        </pc:spChg>
        <pc:spChg chg="mod">
          <ac:chgData name="Jonnavittula, Ambareesh" userId="f197d401-430a-41cd-858d-78eb301305a2" providerId="ADAL" clId="{BE20AC99-93ED-40B9-92A6-10F199198C69}" dt="2022-04-26T09:24:07.566" v="1091" actId="404"/>
          <ac:spMkLst>
            <pc:docMk/>
            <pc:sldMk cId="135786923" sldId="260"/>
            <ac:spMk id="103" creationId="{5A5A98E6-31D4-4F8D-A7A5-3A284A29843E}"/>
          </ac:spMkLst>
        </pc:spChg>
        <pc:spChg chg="mod">
          <ac:chgData name="Jonnavittula, Ambareesh" userId="f197d401-430a-41cd-858d-78eb301305a2" providerId="ADAL" clId="{BE20AC99-93ED-40B9-92A6-10F199198C69}" dt="2022-04-26T09:24:07.566" v="1091" actId="404"/>
          <ac:spMkLst>
            <pc:docMk/>
            <pc:sldMk cId="135786923" sldId="260"/>
            <ac:spMk id="111" creationId="{8BF19B86-4300-43D0-B043-260E98B7F0DC}"/>
          </ac:spMkLst>
        </pc:spChg>
        <pc:cxnChg chg="mod">
          <ac:chgData name="Jonnavittula, Ambareesh" userId="f197d401-430a-41cd-858d-78eb301305a2" providerId="ADAL" clId="{BE20AC99-93ED-40B9-92A6-10F199198C69}" dt="2022-04-26T09:24:45.266" v="1099" actId="1076"/>
          <ac:cxnSpMkLst>
            <pc:docMk/>
            <pc:sldMk cId="135786923" sldId="260"/>
            <ac:cxnSpMk id="40" creationId="{0EC7723E-8930-4B0C-9581-7920D7EFC3A5}"/>
          </ac:cxnSpMkLst>
        </pc:cxnChg>
        <pc:cxnChg chg="mod">
          <ac:chgData name="Jonnavittula, Ambareesh" userId="f197d401-430a-41cd-858d-78eb301305a2" providerId="ADAL" clId="{BE20AC99-93ED-40B9-92A6-10F199198C69}" dt="2022-04-26T09:24:47.679" v="1100" actId="14100"/>
          <ac:cxnSpMkLst>
            <pc:docMk/>
            <pc:sldMk cId="135786923" sldId="260"/>
            <ac:cxnSpMk id="42" creationId="{0791391D-C065-40E4-AA29-FA64B9D686E5}"/>
          </ac:cxnSpMkLst>
        </pc:cxnChg>
      </pc:sldChg>
      <pc:sldChg chg="delSp modSp del">
        <pc:chgData name="Jonnavittula, Ambareesh" userId="f197d401-430a-41cd-858d-78eb301305a2" providerId="ADAL" clId="{BE20AC99-93ED-40B9-92A6-10F199198C69}" dt="2022-04-26T10:37:18.865" v="2799" actId="2696"/>
        <pc:sldMkLst>
          <pc:docMk/>
          <pc:sldMk cId="2166665760" sldId="261"/>
        </pc:sldMkLst>
        <pc:spChg chg="mod">
          <ac:chgData name="Jonnavittula, Ambareesh" userId="f197d401-430a-41cd-858d-78eb301305a2" providerId="ADAL" clId="{BE20AC99-93ED-40B9-92A6-10F199198C69}" dt="2022-04-24T16:12:58.328" v="606" actId="1076"/>
          <ac:spMkLst>
            <pc:docMk/>
            <pc:sldMk cId="2166665760" sldId="261"/>
            <ac:spMk id="2" creationId="{62723273-BC91-41FB-9299-65B3470801A9}"/>
          </ac:spMkLst>
        </pc:spChg>
        <pc:spChg chg="mod">
          <ac:chgData name="Jonnavittula, Ambareesh" userId="f197d401-430a-41cd-858d-78eb301305a2" providerId="ADAL" clId="{BE20AC99-93ED-40B9-92A6-10F199198C69}" dt="2022-04-24T15:44:53.688" v="204" actId="20577"/>
          <ac:spMkLst>
            <pc:docMk/>
            <pc:sldMk cId="2166665760" sldId="261"/>
            <ac:spMk id="4" creationId="{9C75FEBB-533B-47E3-8571-2B7C626443F1}"/>
          </ac:spMkLst>
        </pc:spChg>
        <pc:spChg chg="del">
          <ac:chgData name="Jonnavittula, Ambareesh" userId="f197d401-430a-41cd-858d-78eb301305a2" providerId="ADAL" clId="{BE20AC99-93ED-40B9-92A6-10F199198C69}" dt="2022-04-24T15:44:58.055" v="205" actId="478"/>
          <ac:spMkLst>
            <pc:docMk/>
            <pc:sldMk cId="2166665760" sldId="261"/>
            <ac:spMk id="11" creationId="{CA546EA7-FB14-499D-83D5-793FF59A4F09}"/>
          </ac:spMkLst>
        </pc:spChg>
      </pc:sldChg>
      <pc:sldChg chg="addSp modSp del">
        <pc:chgData name="Jonnavittula, Ambareesh" userId="f197d401-430a-41cd-858d-78eb301305a2" providerId="ADAL" clId="{BE20AC99-93ED-40B9-92A6-10F199198C69}" dt="2022-04-26T10:15:04.493" v="2280" actId="2696"/>
        <pc:sldMkLst>
          <pc:docMk/>
          <pc:sldMk cId="2044495427" sldId="263"/>
        </pc:sldMkLst>
        <pc:spChg chg="add mod">
          <ac:chgData name="Jonnavittula, Ambareesh" userId="f197d401-430a-41cd-858d-78eb301305a2" providerId="ADAL" clId="{BE20AC99-93ED-40B9-92A6-10F199198C69}" dt="2022-04-26T09:26:22.542" v="1121"/>
          <ac:spMkLst>
            <pc:docMk/>
            <pc:sldMk cId="2044495427" sldId="263"/>
            <ac:spMk id="5" creationId="{6CE20902-2881-43EE-81E5-8004C978EC90}"/>
          </ac:spMkLst>
        </pc:spChg>
        <pc:spChg chg="mod">
          <ac:chgData name="Jonnavittula, Ambareesh" userId="f197d401-430a-41cd-858d-78eb301305a2" providerId="ADAL" clId="{BE20AC99-93ED-40B9-92A6-10F199198C69}" dt="2022-04-24T15:41:02.165" v="114" actId="20577"/>
          <ac:spMkLst>
            <pc:docMk/>
            <pc:sldMk cId="2044495427" sldId="263"/>
            <ac:spMk id="14" creationId="{7FC2E3C1-15B9-4A41-9E83-78806D63AA8E}"/>
          </ac:spMkLst>
        </pc:spChg>
        <pc:spChg chg="add mod">
          <ac:chgData name="Jonnavittula, Ambareesh" userId="f197d401-430a-41cd-858d-78eb301305a2" providerId="ADAL" clId="{BE20AC99-93ED-40B9-92A6-10F199198C69}" dt="2022-04-26T09:26:30.762" v="1124" actId="14100"/>
          <ac:spMkLst>
            <pc:docMk/>
            <pc:sldMk cId="2044495427" sldId="263"/>
            <ac:spMk id="51" creationId="{0385C617-96CC-4F20-821B-D40CEB6EAD6A}"/>
          </ac:spMkLst>
        </pc:spChg>
        <pc:spChg chg="mod">
          <ac:chgData name="Jonnavittula, Ambareesh" userId="f197d401-430a-41cd-858d-78eb301305a2" providerId="ADAL" clId="{BE20AC99-93ED-40B9-92A6-10F199198C69}" dt="2022-04-24T15:41:09.684" v="115" actId="1076"/>
          <ac:spMkLst>
            <pc:docMk/>
            <pc:sldMk cId="2044495427" sldId="263"/>
            <ac:spMk id="62" creationId="{011423F0-8032-43ED-87DE-033E3002126A}"/>
          </ac:spMkLst>
        </pc:spChg>
        <pc:cxnChg chg="mod">
          <ac:chgData name="Jonnavittula, Ambareesh" userId="f197d401-430a-41cd-858d-78eb301305a2" providerId="ADAL" clId="{BE20AC99-93ED-40B9-92A6-10F199198C69}" dt="2022-04-24T15:41:19.442" v="119" actId="14100"/>
          <ac:cxnSpMkLst>
            <pc:docMk/>
            <pc:sldMk cId="2044495427" sldId="263"/>
            <ac:cxnSpMk id="21" creationId="{77F728D7-3D3D-4E27-B834-6BB856EFF418}"/>
          </ac:cxnSpMkLst>
        </pc:cxnChg>
        <pc:cxnChg chg="mod">
          <ac:chgData name="Jonnavittula, Ambareesh" userId="f197d401-430a-41cd-858d-78eb301305a2" providerId="ADAL" clId="{BE20AC99-93ED-40B9-92A6-10F199198C69}" dt="2022-04-24T15:41:09.684" v="115" actId="1076"/>
          <ac:cxnSpMkLst>
            <pc:docMk/>
            <pc:sldMk cId="2044495427" sldId="263"/>
            <ac:cxnSpMk id="63" creationId="{94989D36-C160-4082-BBC1-5C6E25BD84B5}"/>
          </ac:cxnSpMkLst>
        </pc:cxnChg>
        <pc:cxnChg chg="mod">
          <ac:chgData name="Jonnavittula, Ambareesh" userId="f197d401-430a-41cd-858d-78eb301305a2" providerId="ADAL" clId="{BE20AC99-93ED-40B9-92A6-10F199198C69}" dt="2022-04-24T15:41:21.349" v="120" actId="14100"/>
          <ac:cxnSpMkLst>
            <pc:docMk/>
            <pc:sldMk cId="2044495427" sldId="263"/>
            <ac:cxnSpMk id="67" creationId="{E37B8FC2-C03F-4E18-B8F0-398AD51F8F55}"/>
          </ac:cxnSpMkLst>
        </pc:cxnChg>
      </pc:sldChg>
      <pc:sldChg chg="add del">
        <pc:chgData name="Jonnavittula, Ambareesh" userId="f197d401-430a-41cd-858d-78eb301305a2" providerId="ADAL" clId="{BE20AC99-93ED-40B9-92A6-10F199198C69}" dt="2022-04-25T12:49:44.705" v="607" actId="2696"/>
        <pc:sldMkLst>
          <pc:docMk/>
          <pc:sldMk cId="1566678606" sldId="264"/>
        </pc:sldMkLst>
      </pc:sldChg>
      <pc:sldChg chg="addSp modSp del">
        <pc:chgData name="Jonnavittula, Ambareesh" userId="f197d401-430a-41cd-858d-78eb301305a2" providerId="ADAL" clId="{BE20AC99-93ED-40B9-92A6-10F199198C69}" dt="2022-04-26T11:06:40.849" v="3461" actId="2696"/>
        <pc:sldMkLst>
          <pc:docMk/>
          <pc:sldMk cId="2993021511" sldId="264"/>
        </pc:sldMkLst>
        <pc:spChg chg="mod">
          <ac:chgData name="Jonnavittula, Ambareesh" userId="f197d401-430a-41cd-858d-78eb301305a2" providerId="ADAL" clId="{BE20AC99-93ED-40B9-92A6-10F199198C69}" dt="2022-04-26T09:07:05.380" v="685" actId="20577"/>
          <ac:spMkLst>
            <pc:docMk/>
            <pc:sldMk cId="2993021511" sldId="264"/>
            <ac:spMk id="2" creationId="{62723273-BC91-41FB-9299-65B3470801A9}"/>
          </ac:spMkLst>
        </pc:spChg>
        <pc:picChg chg="add mod">
          <ac:chgData name="Jonnavittula, Ambareesh" userId="f197d401-430a-41cd-858d-78eb301305a2" providerId="ADAL" clId="{BE20AC99-93ED-40B9-92A6-10F199198C69}" dt="2022-04-26T09:07:28.035" v="690" actId="1076"/>
          <ac:picMkLst>
            <pc:docMk/>
            <pc:sldMk cId="2993021511" sldId="264"/>
            <ac:picMk id="3074" creationId="{98C338B1-65FE-45CB-9306-DE09606981B6}"/>
          </ac:picMkLst>
        </pc:picChg>
        <pc:picChg chg="add">
          <ac:chgData name="Jonnavittula, Ambareesh" userId="f197d401-430a-41cd-858d-78eb301305a2" providerId="ADAL" clId="{BE20AC99-93ED-40B9-92A6-10F199198C69}" dt="2022-04-26T09:07:43.193" v="691"/>
          <ac:picMkLst>
            <pc:docMk/>
            <pc:sldMk cId="2993021511" sldId="264"/>
            <ac:picMk id="3076" creationId="{E8A16231-2CF6-4417-9DD6-55D092B448C3}"/>
          </ac:picMkLst>
        </pc:picChg>
      </pc:sldChg>
      <pc:sldChg chg="del">
        <pc:chgData name="Jonnavittula, Ambareesh" userId="f197d401-430a-41cd-858d-78eb301305a2" providerId="ADAL" clId="{BE20AC99-93ED-40B9-92A6-10F199198C69}" dt="2022-04-26T11:06:42.100" v="3462" actId="2696"/>
        <pc:sldMkLst>
          <pc:docMk/>
          <pc:sldMk cId="4175066858" sldId="265"/>
        </pc:sldMkLst>
      </pc:sldChg>
      <pc:sldChg chg="del">
        <pc:chgData name="Jonnavittula, Ambareesh" userId="f197d401-430a-41cd-858d-78eb301305a2" providerId="ADAL" clId="{BE20AC99-93ED-40B9-92A6-10F199198C69}" dt="2022-04-26T11:06:43.077" v="3463" actId="2696"/>
        <pc:sldMkLst>
          <pc:docMk/>
          <pc:sldMk cId="280439688" sldId="266"/>
        </pc:sldMkLst>
      </pc:sldChg>
      <pc:sldChg chg="add del">
        <pc:chgData name="Jonnavittula, Ambareesh" userId="f197d401-430a-41cd-858d-78eb301305a2" providerId="ADAL" clId="{BE20AC99-93ED-40B9-92A6-10F199198C69}" dt="2022-04-26T11:06:44.349" v="3464" actId="2696"/>
        <pc:sldMkLst>
          <pc:docMk/>
          <pc:sldMk cId="1307172407" sldId="267"/>
        </pc:sldMkLst>
      </pc:sldChg>
      <pc:sldChg chg="del">
        <pc:chgData name="Jonnavittula, Ambareesh" userId="f197d401-430a-41cd-858d-78eb301305a2" providerId="ADAL" clId="{BE20AC99-93ED-40B9-92A6-10F199198C69}" dt="2022-04-26T10:15:09.359" v="2282" actId="2696"/>
        <pc:sldMkLst>
          <pc:docMk/>
          <pc:sldMk cId="1127426157" sldId="268"/>
        </pc:sldMkLst>
      </pc:sldChg>
      <pc:sldChg chg="del">
        <pc:chgData name="Jonnavittula, Ambareesh" userId="f197d401-430a-41cd-858d-78eb301305a2" providerId="ADAL" clId="{BE20AC99-93ED-40B9-92A6-10F199198C69}" dt="2022-04-26T10:15:08.547" v="2281" actId="2696"/>
        <pc:sldMkLst>
          <pc:docMk/>
          <pc:sldMk cId="815713630" sldId="269"/>
        </pc:sldMkLst>
      </pc:sldChg>
      <pc:sldChg chg="modSp">
        <pc:chgData name="Jonnavittula, Ambareesh" userId="f197d401-430a-41cd-858d-78eb301305a2" providerId="ADAL" clId="{BE20AC99-93ED-40B9-92A6-10F199198C69}" dt="2022-04-26T10:37:51.815" v="2871" actId="20577"/>
        <pc:sldMkLst>
          <pc:docMk/>
          <pc:sldMk cId="3894331690" sldId="270"/>
        </pc:sldMkLst>
        <pc:spChg chg="mod">
          <ac:chgData name="Jonnavittula, Ambareesh" userId="f197d401-430a-41cd-858d-78eb301305a2" providerId="ADAL" clId="{BE20AC99-93ED-40B9-92A6-10F199198C69}" dt="2022-04-26T10:37:51.815" v="2871" actId="20577"/>
          <ac:spMkLst>
            <pc:docMk/>
            <pc:sldMk cId="3894331690" sldId="270"/>
            <ac:spMk id="2" creationId="{00000000-0000-0000-0000-000000000000}"/>
          </ac:spMkLst>
        </pc:spChg>
      </pc:sldChg>
      <pc:sldChg chg="modSp del">
        <pc:chgData name="Jonnavittula, Ambareesh" userId="f197d401-430a-41cd-858d-78eb301305a2" providerId="ADAL" clId="{BE20AC99-93ED-40B9-92A6-10F199198C69}" dt="2022-04-26T11:11:09.071" v="3612" actId="2696"/>
        <pc:sldMkLst>
          <pc:docMk/>
          <pc:sldMk cId="3895915010" sldId="271"/>
        </pc:sldMkLst>
        <pc:spChg chg="mod">
          <ac:chgData name="Jonnavittula, Ambareesh" userId="f197d401-430a-41cd-858d-78eb301305a2" providerId="ADAL" clId="{BE20AC99-93ED-40B9-92A6-10F199198C69}" dt="2022-04-26T10:38:41.878" v="2920" actId="20577"/>
          <ac:spMkLst>
            <pc:docMk/>
            <pc:sldMk cId="3895915010" sldId="271"/>
            <ac:spMk id="4" creationId="{24599485-AEC4-4260-9884-D902512D8BAE}"/>
          </ac:spMkLst>
        </pc:spChg>
      </pc:sldChg>
      <pc:sldChg chg="del ord">
        <pc:chgData name="Jonnavittula, Ambareesh" userId="f197d401-430a-41cd-858d-78eb301305a2" providerId="ADAL" clId="{BE20AC99-93ED-40B9-92A6-10F199198C69}" dt="2022-04-26T11:06:39.412" v="3460" actId="2696"/>
        <pc:sldMkLst>
          <pc:docMk/>
          <pc:sldMk cId="1707753165" sldId="272"/>
        </pc:sldMkLst>
      </pc:sldChg>
      <pc:sldChg chg="addSp delSp modSp add delAnim">
        <pc:chgData name="Jonnavittula, Ambareesh" userId="f197d401-430a-41cd-858d-78eb301305a2" providerId="ADAL" clId="{BE20AC99-93ED-40B9-92A6-10F199198C69}" dt="2022-04-26T09:36:11.635" v="1632" actId="20577"/>
        <pc:sldMkLst>
          <pc:docMk/>
          <pc:sldMk cId="2104520678" sldId="273"/>
        </pc:sldMkLst>
        <pc:spChg chg="add">
          <ac:chgData name="Jonnavittula, Ambareesh" userId="f197d401-430a-41cd-858d-78eb301305a2" providerId="ADAL" clId="{BE20AC99-93ED-40B9-92A6-10F199198C69}" dt="2022-04-26T09:17:15.226" v="967"/>
          <ac:spMkLst>
            <pc:docMk/>
            <pc:sldMk cId="2104520678" sldId="273"/>
            <ac:spMk id="2" creationId="{E0A3E4E5-9F64-409E-8379-0E70B0AC0312}"/>
          </ac:spMkLst>
        </pc:spChg>
        <pc:spChg chg="add">
          <ac:chgData name="Jonnavittula, Ambareesh" userId="f197d401-430a-41cd-858d-78eb301305a2" providerId="ADAL" clId="{BE20AC99-93ED-40B9-92A6-10F199198C69}" dt="2022-04-26T09:17:17.938" v="968"/>
          <ac:spMkLst>
            <pc:docMk/>
            <pc:sldMk cId="2104520678" sldId="273"/>
            <ac:spMk id="3" creationId="{1876E805-113B-4E09-A212-5AB6C2EF17E8}"/>
          </ac:spMkLst>
        </pc:spChg>
        <pc:spChg chg="add">
          <ac:chgData name="Jonnavittula, Ambareesh" userId="f197d401-430a-41cd-858d-78eb301305a2" providerId="ADAL" clId="{BE20AC99-93ED-40B9-92A6-10F199198C69}" dt="2022-04-26T09:17:24.542" v="969"/>
          <ac:spMkLst>
            <pc:docMk/>
            <pc:sldMk cId="2104520678" sldId="273"/>
            <ac:spMk id="4" creationId="{D0936C4F-CC47-449E-BACA-6842E0C48769}"/>
          </ac:spMkLst>
        </pc:spChg>
        <pc:spChg chg="mod">
          <ac:chgData name="Jonnavittula, Ambareesh" userId="f197d401-430a-41cd-858d-78eb301305a2" providerId="ADAL" clId="{BE20AC99-93ED-40B9-92A6-10F199198C69}" dt="2022-04-26T09:11:08.826" v="846" actId="20577"/>
          <ac:spMkLst>
            <pc:docMk/>
            <pc:sldMk cId="2104520678" sldId="273"/>
            <ac:spMk id="5" creationId="{A2D32590-9556-4431-BF5A-5F38BDC49F84}"/>
          </ac:spMkLst>
        </pc:spChg>
        <pc:spChg chg="mod">
          <ac:chgData name="Jonnavittula, Ambareesh" userId="f197d401-430a-41cd-858d-78eb301305a2" providerId="ADAL" clId="{BE20AC99-93ED-40B9-92A6-10F199198C69}" dt="2022-04-26T09:36:11.635" v="1632" actId="20577"/>
          <ac:spMkLst>
            <pc:docMk/>
            <pc:sldMk cId="2104520678" sldId="273"/>
            <ac:spMk id="6" creationId="{575C55B0-1C09-47B4-8C18-1E334630CCF6}"/>
          </ac:spMkLst>
        </pc:spChg>
        <pc:spChg chg="del">
          <ac:chgData name="Jonnavittula, Ambareesh" userId="f197d401-430a-41cd-858d-78eb301305a2" providerId="ADAL" clId="{BE20AC99-93ED-40B9-92A6-10F199198C69}" dt="2022-04-26T09:11:17.076" v="847" actId="478"/>
          <ac:spMkLst>
            <pc:docMk/>
            <pc:sldMk cId="2104520678" sldId="273"/>
            <ac:spMk id="7" creationId="{FDFCC03E-BE25-448E-9A1D-478280957EC7}"/>
          </ac:spMkLst>
        </pc:spChg>
        <pc:spChg chg="del">
          <ac:chgData name="Jonnavittula, Ambareesh" userId="f197d401-430a-41cd-858d-78eb301305a2" providerId="ADAL" clId="{BE20AC99-93ED-40B9-92A6-10F199198C69}" dt="2022-04-26T09:11:17.076" v="847" actId="478"/>
          <ac:spMkLst>
            <pc:docMk/>
            <pc:sldMk cId="2104520678" sldId="273"/>
            <ac:spMk id="10" creationId="{3627CC66-B91C-407B-ACC0-7B63CB81814B}"/>
          </ac:spMkLst>
        </pc:spChg>
        <pc:spChg chg="del">
          <ac:chgData name="Jonnavittula, Ambareesh" userId="f197d401-430a-41cd-858d-78eb301305a2" providerId="ADAL" clId="{BE20AC99-93ED-40B9-92A6-10F199198C69}" dt="2022-04-26T09:11:17.076" v="847" actId="478"/>
          <ac:spMkLst>
            <pc:docMk/>
            <pc:sldMk cId="2104520678" sldId="273"/>
            <ac:spMk id="13" creationId="{0FC19E2B-8A51-4891-94B1-52A2B248B65F}"/>
          </ac:spMkLst>
        </pc:spChg>
        <pc:spChg chg="del">
          <ac:chgData name="Jonnavittula, Ambareesh" userId="f197d401-430a-41cd-858d-78eb301305a2" providerId="ADAL" clId="{BE20AC99-93ED-40B9-92A6-10F199198C69}" dt="2022-04-26T09:11:17.076" v="847" actId="478"/>
          <ac:spMkLst>
            <pc:docMk/>
            <pc:sldMk cId="2104520678" sldId="273"/>
            <ac:spMk id="15" creationId="{10B94441-7D17-439D-B19C-F6C8897C5EFC}"/>
          </ac:spMkLst>
        </pc:spChg>
        <pc:spChg chg="del">
          <ac:chgData name="Jonnavittula, Ambareesh" userId="f197d401-430a-41cd-858d-78eb301305a2" providerId="ADAL" clId="{BE20AC99-93ED-40B9-92A6-10F199198C69}" dt="2022-04-26T09:11:17.076" v="847" actId="478"/>
          <ac:spMkLst>
            <pc:docMk/>
            <pc:sldMk cId="2104520678" sldId="273"/>
            <ac:spMk id="16" creationId="{76C9B8A1-49BC-42A8-A178-ACBF2A355E95}"/>
          </ac:spMkLst>
        </pc:spChg>
        <pc:spChg chg="del">
          <ac:chgData name="Jonnavittula, Ambareesh" userId="f197d401-430a-41cd-858d-78eb301305a2" providerId="ADAL" clId="{BE20AC99-93ED-40B9-92A6-10F199198C69}" dt="2022-04-26T09:11:17.076" v="847" actId="478"/>
          <ac:spMkLst>
            <pc:docMk/>
            <pc:sldMk cId="2104520678" sldId="273"/>
            <ac:spMk id="21" creationId="{5BD8500F-236E-438D-9B73-A65DD1E574E5}"/>
          </ac:spMkLst>
        </pc:spChg>
        <pc:picChg chg="add mod">
          <ac:chgData name="Jonnavittula, Ambareesh" userId="f197d401-430a-41cd-858d-78eb301305a2" providerId="ADAL" clId="{BE20AC99-93ED-40B9-92A6-10F199198C69}" dt="2022-04-26T09:17:48.671" v="974" actId="1076"/>
          <ac:picMkLst>
            <pc:docMk/>
            <pc:sldMk cId="2104520678" sldId="273"/>
            <ac:picMk id="8" creationId="{D28C5487-F72E-4E88-9A11-48650EE04679}"/>
          </ac:picMkLst>
        </pc:picChg>
        <pc:picChg chg="add mod">
          <ac:chgData name="Jonnavittula, Ambareesh" userId="f197d401-430a-41cd-858d-78eb301305a2" providerId="ADAL" clId="{BE20AC99-93ED-40B9-92A6-10F199198C69}" dt="2022-04-26T09:16:29.868" v="966" actId="1076"/>
          <ac:picMkLst>
            <pc:docMk/>
            <pc:sldMk cId="2104520678" sldId="273"/>
            <ac:picMk id="12" creationId="{92F6633C-A583-4DF3-8F69-451D78FE5E5D}"/>
          </ac:picMkLst>
        </pc:picChg>
        <pc:picChg chg="add mod">
          <ac:chgData name="Jonnavittula, Ambareesh" userId="f197d401-430a-41cd-858d-78eb301305a2" providerId="ADAL" clId="{BE20AC99-93ED-40B9-92A6-10F199198C69}" dt="2022-04-26T09:13:40.908" v="947" actId="1076"/>
          <ac:picMkLst>
            <pc:docMk/>
            <pc:sldMk cId="2104520678" sldId="273"/>
            <ac:picMk id="17" creationId="{78D3F893-9D2D-472F-BF42-D5D996D35D64}"/>
          </ac:picMkLst>
        </pc:picChg>
        <pc:picChg chg="add mod">
          <ac:chgData name="Jonnavittula, Ambareesh" userId="f197d401-430a-41cd-858d-78eb301305a2" providerId="ADAL" clId="{BE20AC99-93ED-40B9-92A6-10F199198C69}" dt="2022-04-26T09:16:28.045" v="965" actId="1076"/>
          <ac:picMkLst>
            <pc:docMk/>
            <pc:sldMk cId="2104520678" sldId="273"/>
            <ac:picMk id="4098" creationId="{91C45136-6471-4CE4-B06B-6EFCABFE64B7}"/>
          </ac:picMkLst>
        </pc:picChg>
        <pc:picChg chg="add mod">
          <ac:chgData name="Jonnavittula, Ambareesh" userId="f197d401-430a-41cd-858d-78eb301305a2" providerId="ADAL" clId="{BE20AC99-93ED-40B9-92A6-10F199198C69}" dt="2022-04-26T09:16:26.157" v="964" actId="1076"/>
          <ac:picMkLst>
            <pc:docMk/>
            <pc:sldMk cId="2104520678" sldId="273"/>
            <ac:picMk id="4100" creationId="{2876759B-8F52-4A20-9252-44BAC919A3FF}"/>
          </ac:picMkLst>
        </pc:picChg>
        <pc:cxnChg chg="del mod">
          <ac:chgData name="Jonnavittula, Ambareesh" userId="f197d401-430a-41cd-858d-78eb301305a2" providerId="ADAL" clId="{BE20AC99-93ED-40B9-92A6-10F199198C69}" dt="2022-04-26T09:11:17.076" v="847" actId="478"/>
          <ac:cxnSpMkLst>
            <pc:docMk/>
            <pc:sldMk cId="2104520678" sldId="273"/>
            <ac:cxnSpMk id="9" creationId="{388C019A-7CEE-42F7-BDD7-1CF0EAB503F7}"/>
          </ac:cxnSpMkLst>
        </pc:cxnChg>
        <pc:cxnChg chg="del mod">
          <ac:chgData name="Jonnavittula, Ambareesh" userId="f197d401-430a-41cd-858d-78eb301305a2" providerId="ADAL" clId="{BE20AC99-93ED-40B9-92A6-10F199198C69}" dt="2022-04-26T09:11:17.076" v="847" actId="478"/>
          <ac:cxnSpMkLst>
            <pc:docMk/>
            <pc:sldMk cId="2104520678" sldId="273"/>
            <ac:cxnSpMk id="14" creationId="{9441F29B-9354-40AB-9AA0-A1A8B72148A8}"/>
          </ac:cxnSpMkLst>
        </pc:cxnChg>
      </pc:sldChg>
      <pc:sldChg chg="add del">
        <pc:chgData name="Jonnavittula, Ambareesh" userId="f197d401-430a-41cd-858d-78eb301305a2" providerId="ADAL" clId="{BE20AC99-93ED-40B9-92A6-10F199198C69}" dt="2022-04-26T09:10:27.477" v="698" actId="2696"/>
        <pc:sldMkLst>
          <pc:docMk/>
          <pc:sldMk cId="3681826223" sldId="273"/>
        </pc:sldMkLst>
      </pc:sldChg>
      <pc:sldChg chg="addSp delSp modSp add">
        <pc:chgData name="Jonnavittula, Ambareesh" userId="f197d401-430a-41cd-858d-78eb301305a2" providerId="ADAL" clId="{BE20AC99-93ED-40B9-92A6-10F199198C69}" dt="2022-04-26T12:01:15.686" v="3667" actId="1076"/>
        <pc:sldMkLst>
          <pc:docMk/>
          <pc:sldMk cId="1405075593" sldId="274"/>
        </pc:sldMkLst>
        <pc:spChg chg="mod">
          <ac:chgData name="Jonnavittula, Ambareesh" userId="f197d401-430a-41cd-858d-78eb301305a2" providerId="ADAL" clId="{BE20AC99-93ED-40B9-92A6-10F199198C69}" dt="2022-04-26T10:38:54.709" v="2926" actId="27636"/>
          <ac:spMkLst>
            <pc:docMk/>
            <pc:sldMk cId="1405075593" sldId="274"/>
            <ac:spMk id="5" creationId="{A2D32590-9556-4431-BF5A-5F38BDC49F84}"/>
          </ac:spMkLst>
        </pc:spChg>
        <pc:spChg chg="add del mod">
          <ac:chgData name="Jonnavittula, Ambareesh" userId="f197d401-430a-41cd-858d-78eb301305a2" providerId="ADAL" clId="{BE20AC99-93ED-40B9-92A6-10F199198C69}" dt="2022-04-26T10:47:02.533" v="3162" actId="20577"/>
          <ac:spMkLst>
            <pc:docMk/>
            <pc:sldMk cId="1405075593" sldId="274"/>
            <ac:spMk id="6" creationId="{575C55B0-1C09-47B4-8C18-1E334630CCF6}"/>
          </ac:spMkLst>
        </pc:spChg>
        <pc:spChg chg="add del mod">
          <ac:chgData name="Jonnavittula, Ambareesh" userId="f197d401-430a-41cd-858d-78eb301305a2" providerId="ADAL" clId="{BE20AC99-93ED-40B9-92A6-10F199198C69}" dt="2022-04-26T09:23:25.312" v="1064" actId="478"/>
          <ac:spMkLst>
            <pc:docMk/>
            <pc:sldMk cId="1405075593" sldId="274"/>
            <ac:spMk id="9" creationId="{163EBB04-D1E4-4634-8F55-9569A9751C52}"/>
          </ac:spMkLst>
        </pc:spChg>
        <pc:picChg chg="del">
          <ac:chgData name="Jonnavittula, Ambareesh" userId="f197d401-430a-41cd-858d-78eb301305a2" providerId="ADAL" clId="{BE20AC99-93ED-40B9-92A6-10F199198C69}" dt="2022-04-26T09:23:10.341" v="1050" actId="478"/>
          <ac:picMkLst>
            <pc:docMk/>
            <pc:sldMk cId="1405075593" sldId="274"/>
            <ac:picMk id="8" creationId="{D28C5487-F72E-4E88-9A11-48650EE04679}"/>
          </ac:picMkLst>
        </pc:picChg>
        <pc:picChg chg="add del mod">
          <ac:chgData name="Jonnavittula, Ambareesh" userId="f197d401-430a-41cd-858d-78eb301305a2" providerId="ADAL" clId="{BE20AC99-93ED-40B9-92A6-10F199198C69}" dt="2022-04-26T09:28:24.424" v="1222" actId="478"/>
          <ac:picMkLst>
            <pc:docMk/>
            <pc:sldMk cId="1405075593" sldId="274"/>
            <ac:picMk id="10" creationId="{CB29E11C-0083-4A02-A63E-FCD35E0A3A05}"/>
          </ac:picMkLst>
        </pc:picChg>
        <pc:picChg chg="add del mod">
          <ac:chgData name="Jonnavittula, Ambareesh" userId="f197d401-430a-41cd-858d-78eb301305a2" providerId="ADAL" clId="{BE20AC99-93ED-40B9-92A6-10F199198C69}" dt="2022-04-26T09:29:08.352" v="1225" actId="478"/>
          <ac:picMkLst>
            <pc:docMk/>
            <pc:sldMk cId="1405075593" sldId="274"/>
            <ac:picMk id="11" creationId="{0F8F6AC1-1F83-4279-A0F3-50DFA7E32EC0}"/>
          </ac:picMkLst>
        </pc:picChg>
        <pc:picChg chg="del">
          <ac:chgData name="Jonnavittula, Ambareesh" userId="f197d401-430a-41cd-858d-78eb301305a2" providerId="ADAL" clId="{BE20AC99-93ED-40B9-92A6-10F199198C69}" dt="2022-04-26T09:23:08.939" v="1049" actId="478"/>
          <ac:picMkLst>
            <pc:docMk/>
            <pc:sldMk cId="1405075593" sldId="274"/>
            <ac:picMk id="12" creationId="{92F6633C-A583-4DF3-8F69-451D78FE5E5D}"/>
          </ac:picMkLst>
        </pc:picChg>
        <pc:picChg chg="add del mod">
          <ac:chgData name="Jonnavittula, Ambareesh" userId="f197d401-430a-41cd-858d-78eb301305a2" providerId="ADAL" clId="{BE20AC99-93ED-40B9-92A6-10F199198C69}" dt="2022-04-26T11:59:58.182" v="3652" actId="478"/>
          <ac:picMkLst>
            <pc:docMk/>
            <pc:sldMk cId="1405075593" sldId="274"/>
            <ac:picMk id="16" creationId="{159406BA-9815-4FCA-9DAA-77C2D1FF0B11}"/>
          </ac:picMkLst>
        </pc:picChg>
        <pc:picChg chg="del">
          <ac:chgData name="Jonnavittula, Ambareesh" userId="f197d401-430a-41cd-858d-78eb301305a2" providerId="ADAL" clId="{BE20AC99-93ED-40B9-92A6-10F199198C69}" dt="2022-04-26T09:23:08.939" v="1049" actId="478"/>
          <ac:picMkLst>
            <pc:docMk/>
            <pc:sldMk cId="1405075593" sldId="274"/>
            <ac:picMk id="17" creationId="{78D3F893-9D2D-472F-BF42-D5D996D35D64}"/>
          </ac:picMkLst>
        </pc:picChg>
        <pc:picChg chg="add del mod">
          <ac:chgData name="Jonnavittula, Ambareesh" userId="f197d401-430a-41cd-858d-78eb301305a2" providerId="ADAL" clId="{BE20AC99-93ED-40B9-92A6-10F199198C69}" dt="2022-04-26T10:46:38.308" v="3149" actId="478"/>
          <ac:picMkLst>
            <pc:docMk/>
            <pc:sldMk cId="1405075593" sldId="274"/>
            <ac:picMk id="18" creationId="{1D2D6B8C-875C-4241-9887-8B3338242FAA}"/>
          </ac:picMkLst>
        </pc:picChg>
        <pc:picChg chg="add del mod">
          <ac:chgData name="Jonnavittula, Ambareesh" userId="f197d401-430a-41cd-858d-78eb301305a2" providerId="ADAL" clId="{BE20AC99-93ED-40B9-92A6-10F199198C69}" dt="2022-04-26T12:01:01.125" v="3660" actId="478"/>
          <ac:picMkLst>
            <pc:docMk/>
            <pc:sldMk cId="1405075593" sldId="274"/>
            <ac:picMk id="21" creationId="{A7C4AAD1-15CE-47AE-91E0-06ABD14A9410}"/>
          </ac:picMkLst>
        </pc:picChg>
        <pc:picChg chg="add mod">
          <ac:chgData name="Jonnavittula, Ambareesh" userId="f197d401-430a-41cd-858d-78eb301305a2" providerId="ADAL" clId="{BE20AC99-93ED-40B9-92A6-10F199198C69}" dt="2022-04-26T12:01:15.686" v="3667" actId="1076"/>
          <ac:picMkLst>
            <pc:docMk/>
            <pc:sldMk cId="1405075593" sldId="274"/>
            <ac:picMk id="22" creationId="{26E412CA-8E65-485E-A9CD-2519B86B5B77}"/>
          </ac:picMkLst>
        </pc:picChg>
        <pc:picChg chg="del">
          <ac:chgData name="Jonnavittula, Ambareesh" userId="f197d401-430a-41cd-858d-78eb301305a2" providerId="ADAL" clId="{BE20AC99-93ED-40B9-92A6-10F199198C69}" dt="2022-04-26T09:23:08.939" v="1049" actId="478"/>
          <ac:picMkLst>
            <pc:docMk/>
            <pc:sldMk cId="1405075593" sldId="274"/>
            <ac:picMk id="4098" creationId="{91C45136-6471-4CE4-B06B-6EFCABFE64B7}"/>
          </ac:picMkLst>
        </pc:picChg>
        <pc:picChg chg="del">
          <ac:chgData name="Jonnavittula, Ambareesh" userId="f197d401-430a-41cd-858d-78eb301305a2" providerId="ADAL" clId="{BE20AC99-93ED-40B9-92A6-10F199198C69}" dt="2022-04-26T09:23:08.939" v="1049" actId="478"/>
          <ac:picMkLst>
            <pc:docMk/>
            <pc:sldMk cId="1405075593" sldId="274"/>
            <ac:picMk id="4100" creationId="{2876759B-8F52-4A20-9252-44BAC919A3FF}"/>
          </ac:picMkLst>
        </pc:picChg>
        <pc:cxnChg chg="add del mod">
          <ac:chgData name="Jonnavittula, Ambareesh" userId="f197d401-430a-41cd-858d-78eb301305a2" providerId="ADAL" clId="{BE20AC99-93ED-40B9-92A6-10F199198C69}" dt="2022-04-26T10:46:40.026" v="3150" actId="478"/>
          <ac:cxnSpMkLst>
            <pc:docMk/>
            <pc:sldMk cId="1405075593" sldId="274"/>
            <ac:cxnSpMk id="14" creationId="{93058EA0-08A5-432D-9282-5E7ADB658AB7}"/>
          </ac:cxnSpMkLst>
        </pc:cxnChg>
      </pc:sldChg>
      <pc:sldChg chg="addSp delSp modSp add del">
        <pc:chgData name="Jonnavittula, Ambareesh" userId="f197d401-430a-41cd-858d-78eb301305a2" providerId="ADAL" clId="{BE20AC99-93ED-40B9-92A6-10F199198C69}" dt="2022-04-26T10:44:39.929" v="3140" actId="2696"/>
        <pc:sldMkLst>
          <pc:docMk/>
          <pc:sldMk cId="3283783545" sldId="275"/>
        </pc:sldMkLst>
        <pc:spChg chg="mod">
          <ac:chgData name="Jonnavittula, Ambareesh" userId="f197d401-430a-41cd-858d-78eb301305a2" providerId="ADAL" clId="{BE20AC99-93ED-40B9-92A6-10F199198C69}" dt="2022-04-26T10:41:53.272" v="3081" actId="20577"/>
          <ac:spMkLst>
            <pc:docMk/>
            <pc:sldMk cId="3283783545" sldId="275"/>
            <ac:spMk id="6" creationId="{575C55B0-1C09-47B4-8C18-1E334630CCF6}"/>
          </ac:spMkLst>
        </pc:spChg>
        <pc:picChg chg="del">
          <ac:chgData name="Jonnavittula, Ambareesh" userId="f197d401-430a-41cd-858d-78eb301305a2" providerId="ADAL" clId="{BE20AC99-93ED-40B9-92A6-10F199198C69}" dt="2022-04-26T09:29:03.725" v="1223"/>
          <ac:picMkLst>
            <pc:docMk/>
            <pc:sldMk cId="3283783545" sldId="275"/>
            <ac:picMk id="10" creationId="{CB29E11C-0083-4A02-A63E-FCD35E0A3A05}"/>
          </ac:picMkLst>
        </pc:picChg>
        <pc:picChg chg="add del mod">
          <ac:chgData name="Jonnavittula, Ambareesh" userId="f197d401-430a-41cd-858d-78eb301305a2" providerId="ADAL" clId="{BE20AC99-93ED-40B9-92A6-10F199198C69}" dt="2022-04-26T10:42:43.413" v="3090"/>
          <ac:picMkLst>
            <pc:docMk/>
            <pc:sldMk cId="3283783545" sldId="275"/>
            <ac:picMk id="11" creationId="{0F8F6AC1-1F83-4279-A0F3-50DFA7E32EC0}"/>
          </ac:picMkLst>
        </pc:picChg>
      </pc:sldChg>
      <pc:sldChg chg="addSp delSp modSp add">
        <pc:chgData name="Jonnavittula, Ambareesh" userId="f197d401-430a-41cd-858d-78eb301305a2" providerId="ADAL" clId="{BE20AC99-93ED-40B9-92A6-10F199198C69}" dt="2022-04-26T11:53:06.377" v="3651" actId="478"/>
        <pc:sldMkLst>
          <pc:docMk/>
          <pc:sldMk cId="2155754042" sldId="276"/>
        </pc:sldMkLst>
        <pc:spChg chg="mod">
          <ac:chgData name="Jonnavittula, Ambareesh" userId="f197d401-430a-41cd-858d-78eb301305a2" providerId="ADAL" clId="{BE20AC99-93ED-40B9-92A6-10F199198C69}" dt="2022-04-26T10:15:23.421" v="2297" actId="20577"/>
          <ac:spMkLst>
            <pc:docMk/>
            <pc:sldMk cId="2155754042" sldId="276"/>
            <ac:spMk id="5" creationId="{A2D32590-9556-4431-BF5A-5F38BDC49F84}"/>
          </ac:spMkLst>
        </pc:spChg>
        <pc:spChg chg="mod">
          <ac:chgData name="Jonnavittula, Ambareesh" userId="f197d401-430a-41cd-858d-78eb301305a2" providerId="ADAL" clId="{BE20AC99-93ED-40B9-92A6-10F199198C69}" dt="2022-04-26T10:36:51.983" v="2798" actId="20577"/>
          <ac:spMkLst>
            <pc:docMk/>
            <pc:sldMk cId="2155754042" sldId="276"/>
            <ac:spMk id="6" creationId="{575C55B0-1C09-47B4-8C18-1E334630CCF6}"/>
          </ac:spMkLst>
        </pc:spChg>
        <pc:picChg chg="add del mod">
          <ac:chgData name="Jonnavittula, Ambareesh" userId="f197d401-430a-41cd-858d-78eb301305a2" providerId="ADAL" clId="{BE20AC99-93ED-40B9-92A6-10F199198C69}" dt="2022-04-26T11:53:06.377" v="3651" actId="478"/>
          <ac:picMkLst>
            <pc:docMk/>
            <pc:sldMk cId="2155754042" sldId="276"/>
            <ac:picMk id="7" creationId="{7F3D75A4-8476-46E7-982F-078FC888F40C}"/>
          </ac:picMkLst>
        </pc:picChg>
        <pc:picChg chg="del">
          <ac:chgData name="Jonnavittula, Ambareesh" userId="f197d401-430a-41cd-858d-78eb301305a2" providerId="ADAL" clId="{BE20AC99-93ED-40B9-92A6-10F199198C69}" dt="2022-04-26T09:35:12.707" v="1609" actId="478"/>
          <ac:picMkLst>
            <pc:docMk/>
            <pc:sldMk cId="2155754042" sldId="276"/>
            <ac:picMk id="11" creationId="{0F8F6AC1-1F83-4279-A0F3-50DFA7E32EC0}"/>
          </ac:picMkLst>
        </pc:picChg>
      </pc:sldChg>
      <pc:sldChg chg="addSp delSp modSp add mod setBg">
        <pc:chgData name="Jonnavittula, Ambareesh" userId="f197d401-430a-41cd-858d-78eb301305a2" providerId="ADAL" clId="{BE20AC99-93ED-40B9-92A6-10F199198C69}" dt="2022-04-26T11:47:14.717" v="3643" actId="1076"/>
        <pc:sldMkLst>
          <pc:docMk/>
          <pc:sldMk cId="1408988762" sldId="277"/>
        </pc:sldMkLst>
        <pc:spChg chg="mod">
          <ac:chgData name="Jonnavittula, Ambareesh" userId="f197d401-430a-41cd-858d-78eb301305a2" providerId="ADAL" clId="{BE20AC99-93ED-40B9-92A6-10F199198C69}" dt="2022-04-26T10:14:31.585" v="2272" actId="26606"/>
          <ac:spMkLst>
            <pc:docMk/>
            <pc:sldMk cId="1408988762" sldId="277"/>
            <ac:spMk id="2" creationId="{E0A3E4E5-9F64-409E-8379-0E70B0AC0312}"/>
          </ac:spMkLst>
        </pc:spChg>
        <pc:spChg chg="mod">
          <ac:chgData name="Jonnavittula, Ambareesh" userId="f197d401-430a-41cd-858d-78eb301305a2" providerId="ADAL" clId="{BE20AC99-93ED-40B9-92A6-10F199198C69}" dt="2022-04-26T10:14:31.585" v="2272" actId="26606"/>
          <ac:spMkLst>
            <pc:docMk/>
            <pc:sldMk cId="1408988762" sldId="277"/>
            <ac:spMk id="3" creationId="{1876E805-113B-4E09-A212-5AB6C2EF17E8}"/>
          </ac:spMkLst>
        </pc:spChg>
        <pc:spChg chg="mod">
          <ac:chgData name="Jonnavittula, Ambareesh" userId="f197d401-430a-41cd-858d-78eb301305a2" providerId="ADAL" clId="{BE20AC99-93ED-40B9-92A6-10F199198C69}" dt="2022-04-26T10:14:31.585" v="2272" actId="26606"/>
          <ac:spMkLst>
            <pc:docMk/>
            <pc:sldMk cId="1408988762" sldId="277"/>
            <ac:spMk id="4" creationId="{D0936C4F-CC47-449E-BACA-6842E0C48769}"/>
          </ac:spMkLst>
        </pc:spChg>
        <pc:spChg chg="mod ord">
          <ac:chgData name="Jonnavittula, Ambareesh" userId="f197d401-430a-41cd-858d-78eb301305a2" providerId="ADAL" clId="{BE20AC99-93ED-40B9-92A6-10F199198C69}" dt="2022-04-26T10:14:31.585" v="2272" actId="26606"/>
          <ac:spMkLst>
            <pc:docMk/>
            <pc:sldMk cId="1408988762" sldId="277"/>
            <ac:spMk id="5" creationId="{A2D32590-9556-4431-BF5A-5F38BDC49F84}"/>
          </ac:spMkLst>
        </pc:spChg>
        <pc:spChg chg="mod">
          <ac:chgData name="Jonnavittula, Ambareesh" userId="f197d401-430a-41cd-858d-78eb301305a2" providerId="ADAL" clId="{BE20AC99-93ED-40B9-92A6-10F199198C69}" dt="2022-04-26T11:06:17.080" v="3459" actId="6549"/>
          <ac:spMkLst>
            <pc:docMk/>
            <pc:sldMk cId="1408988762" sldId="277"/>
            <ac:spMk id="6" creationId="{575C55B0-1C09-47B4-8C18-1E334630CCF6}"/>
          </ac:spMkLst>
        </pc:spChg>
        <pc:spChg chg="add del">
          <ac:chgData name="Jonnavittula, Ambareesh" userId="f197d401-430a-41cd-858d-78eb301305a2" providerId="ADAL" clId="{BE20AC99-93ED-40B9-92A6-10F199198C69}" dt="2022-04-26T10:14:31.585" v="2272" actId="26606"/>
          <ac:spMkLst>
            <pc:docMk/>
            <pc:sldMk cId="1408988762" sldId="277"/>
            <ac:spMk id="14" creationId="{33CD251C-A887-4D2F-925B-FC097198538B}"/>
          </ac:spMkLst>
        </pc:spChg>
        <pc:spChg chg="add del">
          <ac:chgData name="Jonnavittula, Ambareesh" userId="f197d401-430a-41cd-858d-78eb301305a2" providerId="ADAL" clId="{BE20AC99-93ED-40B9-92A6-10F199198C69}" dt="2022-04-26T10:14:31.585" v="2272" actId="26606"/>
          <ac:spMkLst>
            <pc:docMk/>
            <pc:sldMk cId="1408988762" sldId="277"/>
            <ac:spMk id="16" creationId="{3B2069EE-A08E-44F0-B3F9-3CF8CC2DCAD5}"/>
          </ac:spMkLst>
        </pc:spChg>
        <pc:grpChg chg="add del">
          <ac:chgData name="Jonnavittula, Ambareesh" userId="f197d401-430a-41cd-858d-78eb301305a2" providerId="ADAL" clId="{BE20AC99-93ED-40B9-92A6-10F199198C69}" dt="2022-04-26T10:14:31.585" v="2272" actId="26606"/>
          <ac:grpSpMkLst>
            <pc:docMk/>
            <pc:sldMk cId="1408988762" sldId="277"/>
            <ac:grpSpMk id="18" creationId="{9C6E8597-0CCE-4A8A-9326-AA52691A1C81}"/>
          </ac:grpSpMkLst>
        </pc:grpChg>
        <pc:picChg chg="add del mod ord">
          <ac:chgData name="Jonnavittula, Ambareesh" userId="f197d401-430a-41cd-858d-78eb301305a2" providerId="ADAL" clId="{BE20AC99-93ED-40B9-92A6-10F199198C69}" dt="2022-04-26T10:59:50.578" v="3246" actId="1076"/>
          <ac:picMkLst>
            <pc:docMk/>
            <pc:sldMk cId="1408988762" sldId="277"/>
            <ac:picMk id="7" creationId="{2D17FE5A-B9E0-459B-BCDD-67BA8C8BFF08}"/>
          </ac:picMkLst>
        </pc:picChg>
        <pc:picChg chg="add mod ord">
          <ac:chgData name="Jonnavittula, Ambareesh" userId="f197d401-430a-41cd-858d-78eb301305a2" providerId="ADAL" clId="{BE20AC99-93ED-40B9-92A6-10F199198C69}" dt="2022-04-26T11:00:10.410" v="3258" actId="1076"/>
          <ac:picMkLst>
            <pc:docMk/>
            <pc:sldMk cId="1408988762" sldId="277"/>
            <ac:picMk id="8" creationId="{BFCC51F5-B184-4AD3-971E-F16E69CC90EA}"/>
          </ac:picMkLst>
        </pc:picChg>
        <pc:picChg chg="add mod ord">
          <ac:chgData name="Jonnavittula, Ambareesh" userId="f197d401-430a-41cd-858d-78eb301305a2" providerId="ADAL" clId="{BE20AC99-93ED-40B9-92A6-10F199198C69}" dt="2022-04-26T11:47:14.717" v="3643" actId="1076"/>
          <ac:picMkLst>
            <pc:docMk/>
            <pc:sldMk cId="1408988762" sldId="277"/>
            <ac:picMk id="9" creationId="{D321FA5B-5A57-4C44-AE1B-B3D1AB245A78}"/>
          </ac:picMkLst>
        </pc:picChg>
        <pc:picChg chg="add del mod">
          <ac:chgData name="Jonnavittula, Ambareesh" userId="f197d401-430a-41cd-858d-78eb301305a2" providerId="ADAL" clId="{BE20AC99-93ED-40B9-92A6-10F199198C69}" dt="2022-04-26T10:59:57.897" v="3251" actId="478"/>
          <ac:picMkLst>
            <pc:docMk/>
            <pc:sldMk cId="1408988762" sldId="277"/>
            <ac:picMk id="10" creationId="{F545A48D-F345-4906-9F0C-9DA8D7412780}"/>
          </ac:picMkLst>
        </pc:picChg>
        <pc:picChg chg="del">
          <ac:chgData name="Jonnavittula, Ambareesh" userId="f197d401-430a-41cd-858d-78eb301305a2" providerId="ADAL" clId="{BE20AC99-93ED-40B9-92A6-10F199198C69}" dt="2022-04-26T09:39:47.367" v="1765" actId="478"/>
          <ac:picMkLst>
            <pc:docMk/>
            <pc:sldMk cId="1408988762" sldId="277"/>
            <ac:picMk id="11" creationId="{0F8F6AC1-1F83-4279-A0F3-50DFA7E32EC0}"/>
          </ac:picMkLst>
        </pc:picChg>
      </pc:sldChg>
      <pc:sldChg chg="addSp delSp modSp add mod setBg">
        <pc:chgData name="Jonnavittula, Ambareesh" userId="f197d401-430a-41cd-858d-78eb301305a2" providerId="ADAL" clId="{BE20AC99-93ED-40B9-92A6-10F199198C69}" dt="2022-04-26T12:05:37.497" v="3785" actId="20577"/>
        <pc:sldMkLst>
          <pc:docMk/>
          <pc:sldMk cId="913750378" sldId="278"/>
        </pc:sldMkLst>
        <pc:spChg chg="mod">
          <ac:chgData name="Jonnavittula, Ambareesh" userId="f197d401-430a-41cd-858d-78eb301305a2" providerId="ADAL" clId="{BE20AC99-93ED-40B9-92A6-10F199198C69}" dt="2022-04-26T12:05:37.497" v="3785" actId="20577"/>
          <ac:spMkLst>
            <pc:docMk/>
            <pc:sldMk cId="913750378" sldId="278"/>
            <ac:spMk id="2" creationId="{5D9CEE00-3D45-4FC5-9473-890F0E79E073}"/>
          </ac:spMkLst>
        </pc:spChg>
        <pc:spChg chg="del">
          <ac:chgData name="Jonnavittula, Ambareesh" userId="f197d401-430a-41cd-858d-78eb301305a2" providerId="ADAL" clId="{BE20AC99-93ED-40B9-92A6-10F199198C69}" dt="2022-04-26T10:48:32.246" v="3180"/>
          <ac:spMkLst>
            <pc:docMk/>
            <pc:sldMk cId="913750378" sldId="278"/>
            <ac:spMk id="3" creationId="{9231D496-7870-4B50-94A5-ABCB8B55F85B}"/>
          </ac:spMkLst>
        </pc:spChg>
        <pc:spChg chg="mod ord">
          <ac:chgData name="Jonnavittula, Ambareesh" userId="f197d401-430a-41cd-858d-78eb301305a2" providerId="ADAL" clId="{BE20AC99-93ED-40B9-92A6-10F199198C69}" dt="2022-04-26T10:50:30.319" v="3205" actId="26606"/>
          <ac:spMkLst>
            <pc:docMk/>
            <pc:sldMk cId="913750378" sldId="278"/>
            <ac:spMk id="4" creationId="{05E5028F-9589-4FBD-8EF3-F7F6BB7A6AED}"/>
          </ac:spMkLst>
        </pc:spChg>
        <pc:spChg chg="add del mod">
          <ac:chgData name="Jonnavittula, Ambareesh" userId="f197d401-430a-41cd-858d-78eb301305a2" providerId="ADAL" clId="{BE20AC99-93ED-40B9-92A6-10F199198C69}" dt="2022-04-26T10:50:32.650" v="3207" actId="478"/>
          <ac:spMkLst>
            <pc:docMk/>
            <pc:sldMk cId="913750378" sldId="278"/>
            <ac:spMk id="8" creationId="{AA6AAC42-F9AD-40BB-890A-B4CF675179EF}"/>
          </ac:spMkLst>
        </pc:spChg>
        <pc:spChg chg="add mod">
          <ac:chgData name="Jonnavittula, Ambareesh" userId="f197d401-430a-41cd-858d-78eb301305a2" providerId="ADAL" clId="{BE20AC99-93ED-40B9-92A6-10F199198C69}" dt="2022-04-26T12:03:24.983" v="3738" actId="1076"/>
          <ac:spMkLst>
            <pc:docMk/>
            <pc:sldMk cId="913750378" sldId="278"/>
            <ac:spMk id="14" creationId="{49768A27-692F-4871-9522-E430FFF7C5D4}"/>
          </ac:spMkLst>
        </pc:spChg>
        <pc:spChg chg="add del">
          <ac:chgData name="Jonnavittula, Ambareesh" userId="f197d401-430a-41cd-858d-78eb301305a2" providerId="ADAL" clId="{BE20AC99-93ED-40B9-92A6-10F199198C69}" dt="2022-04-26T10:50:30.319" v="3205" actId="26606"/>
          <ac:spMkLst>
            <pc:docMk/>
            <pc:sldMk cId="913750378" sldId="278"/>
            <ac:spMk id="15" creationId="{A8384FB5-9ADC-4DDC-881B-597D56F5B15D}"/>
          </ac:spMkLst>
        </pc:spChg>
        <pc:spChg chg="add mod">
          <ac:chgData name="Jonnavittula, Ambareesh" userId="f197d401-430a-41cd-858d-78eb301305a2" providerId="ADAL" clId="{BE20AC99-93ED-40B9-92A6-10F199198C69}" dt="2022-04-26T11:41:59.603" v="3626" actId="1076"/>
          <ac:spMkLst>
            <pc:docMk/>
            <pc:sldMk cId="913750378" sldId="278"/>
            <ac:spMk id="16" creationId="{0F1564DB-71C9-484A-85DA-66D72B745DAA}"/>
          </ac:spMkLst>
        </pc:spChg>
        <pc:spChg chg="add del">
          <ac:chgData name="Jonnavittula, Ambareesh" userId="f197d401-430a-41cd-858d-78eb301305a2" providerId="ADAL" clId="{BE20AC99-93ED-40B9-92A6-10F199198C69}" dt="2022-04-26T10:50:30.319" v="3205" actId="26606"/>
          <ac:spMkLst>
            <pc:docMk/>
            <pc:sldMk cId="913750378" sldId="278"/>
            <ac:spMk id="17" creationId="{91E5A9A7-95C6-4F4F-B00E-C82E07FE62EF}"/>
          </ac:spMkLst>
        </pc:spChg>
        <pc:spChg chg="add del">
          <ac:chgData name="Jonnavittula, Ambareesh" userId="f197d401-430a-41cd-858d-78eb301305a2" providerId="ADAL" clId="{BE20AC99-93ED-40B9-92A6-10F199198C69}" dt="2022-04-26T10:50:30.319" v="3205" actId="26606"/>
          <ac:spMkLst>
            <pc:docMk/>
            <pc:sldMk cId="913750378" sldId="278"/>
            <ac:spMk id="19" creationId="{D07DD2DE-F619-49DD-B5E7-03A290FF4ED1}"/>
          </ac:spMkLst>
        </pc:spChg>
        <pc:spChg chg="add del mod">
          <ac:chgData name="Jonnavittula, Ambareesh" userId="f197d401-430a-41cd-858d-78eb301305a2" providerId="ADAL" clId="{BE20AC99-93ED-40B9-92A6-10F199198C69}" dt="2022-04-26T11:03:55.689" v="3436" actId="478"/>
          <ac:spMkLst>
            <pc:docMk/>
            <pc:sldMk cId="913750378" sldId="278"/>
            <ac:spMk id="20" creationId="{D7EAD69B-BC67-4807-B893-62969F915552}"/>
          </ac:spMkLst>
        </pc:spChg>
        <pc:spChg chg="add del">
          <ac:chgData name="Jonnavittula, Ambareesh" userId="f197d401-430a-41cd-858d-78eb301305a2" providerId="ADAL" clId="{BE20AC99-93ED-40B9-92A6-10F199198C69}" dt="2022-04-26T10:50:30.319" v="3205" actId="26606"/>
          <ac:spMkLst>
            <pc:docMk/>
            <pc:sldMk cId="913750378" sldId="278"/>
            <ac:spMk id="21" creationId="{85149191-5F60-4A28-AAFF-039F96B0F3EC}"/>
          </ac:spMkLst>
        </pc:spChg>
        <pc:spChg chg="add del">
          <ac:chgData name="Jonnavittula, Ambareesh" userId="f197d401-430a-41cd-858d-78eb301305a2" providerId="ADAL" clId="{BE20AC99-93ED-40B9-92A6-10F199198C69}" dt="2022-04-26T10:50:30.319" v="3205" actId="26606"/>
          <ac:spMkLst>
            <pc:docMk/>
            <pc:sldMk cId="913750378" sldId="278"/>
            <ac:spMk id="23" creationId="{F8260ED5-17F7-4158-B241-D51DD4CF1B7E}"/>
          </ac:spMkLst>
        </pc:spChg>
        <pc:spChg chg="add mod">
          <ac:chgData name="Jonnavittula, Ambareesh" userId="f197d401-430a-41cd-858d-78eb301305a2" providerId="ADAL" clId="{BE20AC99-93ED-40B9-92A6-10F199198C69}" dt="2022-04-26T12:03:18.120" v="3737" actId="1076"/>
          <ac:spMkLst>
            <pc:docMk/>
            <pc:sldMk cId="913750378" sldId="278"/>
            <ac:spMk id="24" creationId="{F8B09BA2-89E3-410A-8090-506924C3C10B}"/>
          </ac:spMkLst>
        </pc:spChg>
        <pc:picChg chg="add del mod">
          <ac:chgData name="Jonnavittula, Ambareesh" userId="f197d401-430a-41cd-858d-78eb301305a2" providerId="ADAL" clId="{BE20AC99-93ED-40B9-92A6-10F199198C69}" dt="2022-04-26T10:50:12.852" v="3201" actId="478"/>
          <ac:picMkLst>
            <pc:docMk/>
            <pc:sldMk cId="913750378" sldId="278"/>
            <ac:picMk id="5" creationId="{2840FBF6-7709-4B31-BDF0-677433EACCC1}"/>
          </ac:picMkLst>
        </pc:picChg>
        <pc:picChg chg="add del mod">
          <ac:chgData name="Jonnavittula, Ambareesh" userId="f197d401-430a-41cd-858d-78eb301305a2" providerId="ADAL" clId="{BE20AC99-93ED-40B9-92A6-10F199198C69}" dt="2022-04-26T10:50:11.762" v="3200" actId="478"/>
          <ac:picMkLst>
            <pc:docMk/>
            <pc:sldMk cId="913750378" sldId="278"/>
            <ac:picMk id="6" creationId="{3E8FE4AA-7748-48FE-B5C3-68A2308FAE86}"/>
          </ac:picMkLst>
        </pc:picChg>
        <pc:picChg chg="add del">
          <ac:chgData name="Jonnavittula, Ambareesh" userId="f197d401-430a-41cd-858d-78eb301305a2" providerId="ADAL" clId="{BE20AC99-93ED-40B9-92A6-10F199198C69}" dt="2022-04-26T10:50:32.650" v="3207" actId="478"/>
          <ac:picMkLst>
            <pc:docMk/>
            <pc:sldMk cId="913750378" sldId="278"/>
            <ac:picMk id="9" creationId="{FBB5BB6B-DA82-4A37-8947-9916AB170128}"/>
          </ac:picMkLst>
        </pc:picChg>
        <pc:picChg chg="add del mod">
          <ac:chgData name="Jonnavittula, Ambareesh" userId="f197d401-430a-41cd-858d-78eb301305a2" providerId="ADAL" clId="{BE20AC99-93ED-40B9-92A6-10F199198C69}" dt="2022-04-26T11:03:53.544" v="3435" actId="478"/>
          <ac:picMkLst>
            <pc:docMk/>
            <pc:sldMk cId="913750378" sldId="278"/>
            <ac:picMk id="10" creationId="{BFB671AF-CD83-4024-9896-CD3FBBE8973B}"/>
          </ac:picMkLst>
        </pc:picChg>
        <pc:picChg chg="add del mod">
          <ac:chgData name="Jonnavittula, Ambareesh" userId="f197d401-430a-41cd-858d-78eb301305a2" providerId="ADAL" clId="{BE20AC99-93ED-40B9-92A6-10F199198C69}" dt="2022-04-26T10:56:41.940" v="3230" actId="478"/>
          <ac:picMkLst>
            <pc:docMk/>
            <pc:sldMk cId="913750378" sldId="278"/>
            <ac:picMk id="11" creationId="{B81C37C5-9C5C-4F03-BEFD-01685AACFAF1}"/>
          </ac:picMkLst>
        </pc:picChg>
        <pc:picChg chg="add del">
          <ac:chgData name="Jonnavittula, Ambareesh" userId="f197d401-430a-41cd-858d-78eb301305a2" providerId="ADAL" clId="{BE20AC99-93ED-40B9-92A6-10F199198C69}" dt="2022-04-26T10:50:30.319" v="3205" actId="26606"/>
          <ac:picMkLst>
            <pc:docMk/>
            <pc:sldMk cId="913750378" sldId="278"/>
            <ac:picMk id="12" creationId="{FBB5BB6B-DA82-4A37-8947-9916AB170128}"/>
          </ac:picMkLst>
        </pc:picChg>
        <pc:picChg chg="add mod">
          <ac:chgData name="Jonnavittula, Ambareesh" userId="f197d401-430a-41cd-858d-78eb301305a2" providerId="ADAL" clId="{BE20AC99-93ED-40B9-92A6-10F199198C69}" dt="2022-04-26T12:04:55.423" v="3765" actId="1076"/>
          <ac:picMkLst>
            <pc:docMk/>
            <pc:sldMk cId="913750378" sldId="278"/>
            <ac:picMk id="13" creationId="{B1777900-34A0-47F0-B0FE-0794BFBD17B1}"/>
          </ac:picMkLst>
        </pc:picChg>
        <pc:picChg chg="add del mod">
          <ac:chgData name="Jonnavittula, Ambareesh" userId="f197d401-430a-41cd-858d-78eb301305a2" providerId="ADAL" clId="{BE20AC99-93ED-40B9-92A6-10F199198C69}" dt="2022-04-26T11:45:20.279" v="3636" actId="478"/>
          <ac:picMkLst>
            <pc:docMk/>
            <pc:sldMk cId="913750378" sldId="278"/>
            <ac:picMk id="18" creationId="{589D5057-6163-48D8-899D-E875BDF15566}"/>
          </ac:picMkLst>
        </pc:picChg>
        <pc:picChg chg="add mod">
          <ac:chgData name="Jonnavittula, Ambareesh" userId="f197d401-430a-41cd-858d-78eb301305a2" providerId="ADAL" clId="{BE20AC99-93ED-40B9-92A6-10F199198C69}" dt="2022-04-26T12:03:13.134" v="3735" actId="1076"/>
          <ac:picMkLst>
            <pc:docMk/>
            <pc:sldMk cId="913750378" sldId="278"/>
            <ac:picMk id="22" creationId="{68194BB6-08F7-4DB3-ACC0-BDDFD264E42C}"/>
          </ac:picMkLst>
        </pc:picChg>
      </pc:sldChg>
      <pc:sldChg chg="modSp add del">
        <pc:chgData name="Jonnavittula, Ambareesh" userId="f197d401-430a-41cd-858d-78eb301305a2" providerId="ADAL" clId="{BE20AC99-93ED-40B9-92A6-10F199198C69}" dt="2022-04-26T10:38:03.260" v="2872" actId="2696"/>
        <pc:sldMkLst>
          <pc:docMk/>
          <pc:sldMk cId="2960888940" sldId="278"/>
        </pc:sldMkLst>
        <pc:spChg chg="mod">
          <ac:chgData name="Jonnavittula, Ambareesh" userId="f197d401-430a-41cd-858d-78eb301305a2" providerId="ADAL" clId="{BE20AC99-93ED-40B9-92A6-10F199198C69}" dt="2022-04-26T09:56:17.488" v="2213" actId="20577"/>
          <ac:spMkLst>
            <pc:docMk/>
            <pc:sldMk cId="2960888940" sldId="278"/>
            <ac:spMk id="5" creationId="{A2D32590-9556-4431-BF5A-5F38BDC49F84}"/>
          </ac:spMkLst>
        </pc:spChg>
      </pc:sldChg>
      <pc:sldChg chg="addSp delSp modSp add mod setBg">
        <pc:chgData name="Jonnavittula, Ambareesh" userId="f197d401-430a-41cd-858d-78eb301305a2" providerId="ADAL" clId="{BE20AC99-93ED-40B9-92A6-10F199198C69}" dt="2022-04-26T11:08:03.885" v="3527" actId="14100"/>
        <pc:sldMkLst>
          <pc:docMk/>
          <pc:sldMk cId="2110719684" sldId="279"/>
        </pc:sldMkLst>
        <pc:spChg chg="mod">
          <ac:chgData name="Jonnavittula, Ambareesh" userId="f197d401-430a-41cd-858d-78eb301305a2" providerId="ADAL" clId="{BE20AC99-93ED-40B9-92A6-10F199198C69}" dt="2022-04-26T11:08:00.638" v="3526" actId="26606"/>
          <ac:spMkLst>
            <pc:docMk/>
            <pc:sldMk cId="2110719684" sldId="279"/>
            <ac:spMk id="2" creationId="{E0A3E4E5-9F64-409E-8379-0E70B0AC0312}"/>
          </ac:spMkLst>
        </pc:spChg>
        <pc:spChg chg="mod">
          <ac:chgData name="Jonnavittula, Ambareesh" userId="f197d401-430a-41cd-858d-78eb301305a2" providerId="ADAL" clId="{BE20AC99-93ED-40B9-92A6-10F199198C69}" dt="2022-04-26T11:08:00.638" v="3526" actId="26606"/>
          <ac:spMkLst>
            <pc:docMk/>
            <pc:sldMk cId="2110719684" sldId="279"/>
            <ac:spMk id="3" creationId="{1876E805-113B-4E09-A212-5AB6C2EF17E8}"/>
          </ac:spMkLst>
        </pc:spChg>
        <pc:spChg chg="mod">
          <ac:chgData name="Jonnavittula, Ambareesh" userId="f197d401-430a-41cd-858d-78eb301305a2" providerId="ADAL" clId="{BE20AC99-93ED-40B9-92A6-10F199198C69}" dt="2022-04-26T11:08:00.638" v="3526" actId="26606"/>
          <ac:spMkLst>
            <pc:docMk/>
            <pc:sldMk cId="2110719684" sldId="279"/>
            <ac:spMk id="4" creationId="{D0936C4F-CC47-449E-BACA-6842E0C48769}"/>
          </ac:spMkLst>
        </pc:spChg>
        <pc:spChg chg="mod">
          <ac:chgData name="Jonnavittula, Ambareesh" userId="f197d401-430a-41cd-858d-78eb301305a2" providerId="ADAL" clId="{BE20AC99-93ED-40B9-92A6-10F199198C69}" dt="2022-04-26T11:08:00.638" v="3526" actId="26606"/>
          <ac:spMkLst>
            <pc:docMk/>
            <pc:sldMk cId="2110719684" sldId="279"/>
            <ac:spMk id="5" creationId="{A2D32590-9556-4431-BF5A-5F38BDC49F84}"/>
          </ac:spMkLst>
        </pc:spChg>
        <pc:spChg chg="del mod">
          <ac:chgData name="Jonnavittula, Ambareesh" userId="f197d401-430a-41cd-858d-78eb301305a2" providerId="ADAL" clId="{BE20AC99-93ED-40B9-92A6-10F199198C69}" dt="2022-04-26T11:07:21.827" v="3522" actId="478"/>
          <ac:spMkLst>
            <pc:docMk/>
            <pc:sldMk cId="2110719684" sldId="279"/>
            <ac:spMk id="6" creationId="{575C55B0-1C09-47B4-8C18-1E334630CCF6}"/>
          </ac:spMkLst>
        </pc:spChg>
        <pc:spChg chg="add del">
          <ac:chgData name="Jonnavittula, Ambareesh" userId="f197d401-430a-41cd-858d-78eb301305a2" providerId="ADAL" clId="{BE20AC99-93ED-40B9-92A6-10F199198C69}" dt="2022-04-26T11:08:00.638" v="3526" actId="26606"/>
          <ac:spMkLst>
            <pc:docMk/>
            <pc:sldMk cId="2110719684" sldId="279"/>
            <ac:spMk id="71" creationId="{1707FC24-6981-43D9-B525-C7832BA22463}"/>
          </ac:spMkLst>
        </pc:spChg>
        <pc:picChg chg="add mod ord">
          <ac:chgData name="Jonnavittula, Ambareesh" userId="f197d401-430a-41cd-858d-78eb301305a2" providerId="ADAL" clId="{BE20AC99-93ED-40B9-92A6-10F199198C69}" dt="2022-04-26T11:08:03.885" v="3527" actId="14100"/>
          <ac:picMkLst>
            <pc:docMk/>
            <pc:sldMk cId="2110719684" sldId="279"/>
            <ac:picMk id="5122" creationId="{45CCE52D-6383-4C1E-806D-66B8729F1742}"/>
          </ac:picMkLst>
        </pc:picChg>
      </pc:sldChg>
      <pc:sldChg chg="addSp delSp modSp add">
        <pc:chgData name="Jonnavittula, Ambareesh" userId="f197d401-430a-41cd-858d-78eb301305a2" providerId="ADAL" clId="{BE20AC99-93ED-40B9-92A6-10F199198C69}" dt="2022-04-26T11:09:15.096" v="3609" actId="14100"/>
        <pc:sldMkLst>
          <pc:docMk/>
          <pc:sldMk cId="3089079878" sldId="280"/>
        </pc:sldMkLst>
        <pc:spChg chg="mod">
          <ac:chgData name="Jonnavittula, Ambareesh" userId="f197d401-430a-41cd-858d-78eb301305a2" providerId="ADAL" clId="{BE20AC99-93ED-40B9-92A6-10F199198C69}" dt="2022-04-26T11:08:22.742" v="3534" actId="20577"/>
          <ac:spMkLst>
            <pc:docMk/>
            <pc:sldMk cId="3089079878" sldId="280"/>
            <ac:spMk id="5" creationId="{A2D32590-9556-4431-BF5A-5F38BDC49F84}"/>
          </ac:spMkLst>
        </pc:spChg>
        <pc:spChg chg="add mod">
          <ac:chgData name="Jonnavittula, Ambareesh" userId="f197d401-430a-41cd-858d-78eb301305a2" providerId="ADAL" clId="{BE20AC99-93ED-40B9-92A6-10F199198C69}" dt="2022-04-26T11:09:15.096" v="3609" actId="14100"/>
          <ac:spMkLst>
            <pc:docMk/>
            <pc:sldMk cId="3089079878" sldId="280"/>
            <ac:spMk id="6" creationId="{703D52C8-8C2A-42BD-AFA6-1AAE682D252D}"/>
          </ac:spMkLst>
        </pc:spChg>
        <pc:picChg chg="del">
          <ac:chgData name="Jonnavittula, Ambareesh" userId="f197d401-430a-41cd-858d-78eb301305a2" providerId="ADAL" clId="{BE20AC99-93ED-40B9-92A6-10F199198C69}" dt="2022-04-26T11:08:24.244" v="3535" actId="478"/>
          <ac:picMkLst>
            <pc:docMk/>
            <pc:sldMk cId="3089079878" sldId="280"/>
            <ac:picMk id="5122" creationId="{45CCE52D-6383-4C1E-806D-66B8729F1742}"/>
          </ac:picMkLst>
        </pc:picChg>
      </pc:sldChg>
      <pc:sldMasterChg chg="delSldLayout">
        <pc:chgData name="Jonnavittula, Ambareesh" userId="f197d401-430a-41cd-858d-78eb301305a2" providerId="ADAL" clId="{BE20AC99-93ED-40B9-92A6-10F199198C69}" dt="2022-04-26T11:11:09.072" v="3613" actId="2696"/>
        <pc:sldMasterMkLst>
          <pc:docMk/>
          <pc:sldMasterMk cId="3788174211" sldId="2147483690"/>
        </pc:sldMasterMkLst>
        <pc:sldLayoutChg chg="del">
          <pc:chgData name="Jonnavittula, Ambareesh" userId="f197d401-430a-41cd-858d-78eb301305a2" providerId="ADAL" clId="{BE20AC99-93ED-40B9-92A6-10F199198C69}" dt="2022-04-26T11:11:09.072" v="3613" actId="2696"/>
          <pc:sldLayoutMkLst>
            <pc:docMk/>
            <pc:sldMasterMk cId="3788174211" sldId="2147483690"/>
            <pc:sldLayoutMk cId="129945602" sldId="2147483697"/>
          </pc:sldLayoutMkLst>
        </pc:sldLayoutChg>
      </pc:sldMasterChg>
      <pc:sldMasterChg chg="del delSldLayout">
        <pc:chgData name="Jonnavittula, Ambareesh" userId="f197d401-430a-41cd-858d-78eb301305a2" providerId="ADAL" clId="{BE20AC99-93ED-40B9-92A6-10F199198C69}" dt="2022-04-26T11:06:44.370" v="3469" actId="2696"/>
        <pc:sldMasterMkLst>
          <pc:docMk/>
          <pc:sldMasterMk cId="4264812927" sldId="2147483698"/>
        </pc:sldMasterMkLst>
        <pc:sldLayoutChg chg="del">
          <pc:chgData name="Jonnavittula, Ambareesh" userId="f197d401-430a-41cd-858d-78eb301305a2" providerId="ADAL" clId="{BE20AC99-93ED-40B9-92A6-10F199198C69}" dt="2022-04-26T11:06:44.359" v="3465" actId="2696"/>
          <pc:sldLayoutMkLst>
            <pc:docMk/>
            <pc:sldMasterMk cId="4264812927" sldId="2147483698"/>
            <pc:sldLayoutMk cId="3832983802" sldId="2147483699"/>
          </pc:sldLayoutMkLst>
        </pc:sldLayoutChg>
        <pc:sldLayoutChg chg="del">
          <pc:chgData name="Jonnavittula, Ambareesh" userId="f197d401-430a-41cd-858d-78eb301305a2" providerId="ADAL" clId="{BE20AC99-93ED-40B9-92A6-10F199198C69}" dt="2022-04-26T11:06:44.359" v="3466" actId="2696"/>
          <pc:sldLayoutMkLst>
            <pc:docMk/>
            <pc:sldMasterMk cId="4264812927" sldId="2147483698"/>
            <pc:sldLayoutMk cId="588302112" sldId="2147483700"/>
          </pc:sldLayoutMkLst>
        </pc:sldLayoutChg>
        <pc:sldLayoutChg chg="del">
          <pc:chgData name="Jonnavittula, Ambareesh" userId="f197d401-430a-41cd-858d-78eb301305a2" providerId="ADAL" clId="{BE20AC99-93ED-40B9-92A6-10F199198C69}" dt="2022-04-26T11:06:44.360" v="3467" actId="2696"/>
          <pc:sldLayoutMkLst>
            <pc:docMk/>
            <pc:sldMasterMk cId="4264812927" sldId="2147483698"/>
            <pc:sldLayoutMk cId="160330886" sldId="2147483701"/>
          </pc:sldLayoutMkLst>
        </pc:sldLayoutChg>
        <pc:sldLayoutChg chg="del">
          <pc:chgData name="Jonnavittula, Ambareesh" userId="f197d401-430a-41cd-858d-78eb301305a2" providerId="ADAL" clId="{BE20AC99-93ED-40B9-92A6-10F199198C69}" dt="2022-04-26T11:06:44.369" v="3468" actId="2696"/>
          <pc:sldLayoutMkLst>
            <pc:docMk/>
            <pc:sldMasterMk cId="4264812927" sldId="2147483698"/>
            <pc:sldLayoutMk cId="2554137164" sldId="2147483702"/>
          </pc:sldLayoutMkLst>
        </pc:sldLayoutChg>
      </pc:sldMasterChg>
    </pc:docChg>
  </pc:docChgLst>
  <pc:docChgLst>
    <pc:chgData name="Jonnavittula, Ambareesh" userId="f197d401-430a-41cd-858d-78eb301305a2" providerId="ADAL" clId="{C6F363FD-B43B-4D84-9BE1-8F025180C314}"/>
    <pc:docChg chg="undo custSel addSld delSld modSld sldOrd delMainMaster">
      <pc:chgData name="Jonnavittula, Ambareesh" userId="f197d401-430a-41cd-858d-78eb301305a2" providerId="ADAL" clId="{C6F363FD-B43B-4D84-9BE1-8F025180C314}" dt="2022-04-16T15:11:50.854" v="7829" actId="108"/>
      <pc:docMkLst>
        <pc:docMk/>
      </pc:docMkLst>
      <pc:sldChg chg="modSp add del">
        <pc:chgData name="Jonnavittula, Ambareesh" userId="f197d401-430a-41cd-858d-78eb301305a2" providerId="ADAL" clId="{C6F363FD-B43B-4D84-9BE1-8F025180C314}" dt="2022-04-13T13:13:02.033" v="154" actId="2696"/>
        <pc:sldMkLst>
          <pc:docMk/>
          <pc:sldMk cId="260951365" sldId="256"/>
        </pc:sldMkLst>
        <pc:spChg chg="mod">
          <ac:chgData name="Jonnavittula, Ambareesh" userId="f197d401-430a-41cd-858d-78eb301305a2" providerId="ADAL" clId="{C6F363FD-B43B-4D84-9BE1-8F025180C314}" dt="2022-04-13T13:11:09.676" v="66" actId="20577"/>
          <ac:spMkLst>
            <pc:docMk/>
            <pc:sldMk cId="260951365" sldId="256"/>
            <ac:spMk id="2" creationId="{B4B553F5-D3DE-4EEB-87E1-4A8E89E5202E}"/>
          </ac:spMkLst>
        </pc:spChg>
        <pc:spChg chg="mod">
          <ac:chgData name="Jonnavittula, Ambareesh" userId="f197d401-430a-41cd-858d-78eb301305a2" providerId="ADAL" clId="{C6F363FD-B43B-4D84-9BE1-8F025180C314}" dt="2022-04-13T13:11:17.581" v="100" actId="20577"/>
          <ac:spMkLst>
            <pc:docMk/>
            <pc:sldMk cId="260951365" sldId="256"/>
            <ac:spMk id="3" creationId="{11FC9266-8E27-4AFD-804B-3669FCA50038}"/>
          </ac:spMkLst>
        </pc:spChg>
      </pc:sldChg>
      <pc:sldChg chg="del">
        <pc:chgData name="Jonnavittula, Ambareesh" userId="f197d401-430a-41cd-858d-78eb301305a2" providerId="ADAL" clId="{C6F363FD-B43B-4D84-9BE1-8F025180C314}" dt="2022-04-13T13:12:10.024" v="101" actId="2696"/>
        <pc:sldMkLst>
          <pc:docMk/>
          <pc:sldMk cId="3924192572" sldId="257"/>
        </pc:sldMkLst>
      </pc:sldChg>
      <pc:sldChg chg="modSp">
        <pc:chgData name="Jonnavittula, Ambareesh" userId="f197d401-430a-41cd-858d-78eb301305a2" providerId="ADAL" clId="{C6F363FD-B43B-4D84-9BE1-8F025180C314}" dt="2022-04-13T13:12:58.389" v="153" actId="20577"/>
        <pc:sldMkLst>
          <pc:docMk/>
          <pc:sldMk cId="2435075766" sldId="258"/>
        </pc:sldMkLst>
        <pc:spChg chg="mod">
          <ac:chgData name="Jonnavittula, Ambareesh" userId="f197d401-430a-41cd-858d-78eb301305a2" providerId="ADAL" clId="{C6F363FD-B43B-4D84-9BE1-8F025180C314}" dt="2022-04-13T13:12:58.389" v="153" actId="20577"/>
          <ac:spMkLst>
            <pc:docMk/>
            <pc:sldMk cId="2435075766" sldId="258"/>
            <ac:spMk id="4" creationId="{00000000-0000-0000-0000-000000000000}"/>
          </ac:spMkLst>
        </pc:spChg>
      </pc:sldChg>
      <pc:sldChg chg="add del">
        <pc:chgData name="Jonnavittula, Ambareesh" userId="f197d401-430a-41cd-858d-78eb301305a2" providerId="ADAL" clId="{C6F363FD-B43B-4D84-9BE1-8F025180C314}" dt="2022-04-13T13:13:22.771" v="168" actId="2696"/>
        <pc:sldMkLst>
          <pc:docMk/>
          <pc:sldMk cId="993385274" sldId="259"/>
        </pc:sldMkLst>
      </pc:sldChg>
      <pc:sldChg chg="addSp delSp modSp">
        <pc:chgData name="Jonnavittula, Ambareesh" userId="f197d401-430a-41cd-858d-78eb301305a2" providerId="ADAL" clId="{C6F363FD-B43B-4D84-9BE1-8F025180C314}" dt="2022-04-16T15:10:53.081" v="7817" actId="1076"/>
        <pc:sldMkLst>
          <pc:docMk/>
          <pc:sldMk cId="135786923" sldId="260"/>
        </pc:sldMkLst>
        <pc:spChg chg="mod">
          <ac:chgData name="Jonnavittula, Ambareesh" userId="f197d401-430a-41cd-858d-78eb301305a2" providerId="ADAL" clId="{C6F363FD-B43B-4D84-9BE1-8F025180C314}" dt="2022-04-13T13:21:00.521" v="432" actId="20577"/>
          <ac:spMkLst>
            <pc:docMk/>
            <pc:sldMk cId="135786923" sldId="260"/>
            <ac:spMk id="4" creationId="{9C75FEBB-533B-47E3-8571-2B7C626443F1}"/>
          </ac:spMkLst>
        </pc:spChg>
        <pc:spChg chg="add del mod">
          <ac:chgData name="Jonnavittula, Ambareesh" userId="f197d401-430a-41cd-858d-78eb301305a2" providerId="ADAL" clId="{C6F363FD-B43B-4D84-9BE1-8F025180C314}" dt="2022-04-13T13:14:35.960" v="232" actId="11529"/>
          <ac:spMkLst>
            <pc:docMk/>
            <pc:sldMk cId="135786923" sldId="260"/>
            <ac:spMk id="5" creationId="{D762A043-5D6E-4DF5-8013-F1050B3E0CC6}"/>
          </ac:spMkLst>
        </pc:spChg>
        <pc:spChg chg="add mod">
          <ac:chgData name="Jonnavittula, Ambareesh" userId="f197d401-430a-41cd-858d-78eb301305a2" providerId="ADAL" clId="{C6F363FD-B43B-4D84-9BE1-8F025180C314}" dt="2022-04-14T13:25:54.788" v="2306" actId="5793"/>
          <ac:spMkLst>
            <pc:docMk/>
            <pc:sldMk cId="135786923" sldId="260"/>
            <ac:spMk id="6" creationId="{4DEC3EB5-25A8-4474-BDA7-0F911C4434D7}"/>
          </ac:spMkLst>
        </pc:spChg>
        <pc:spChg chg="add mod">
          <ac:chgData name="Jonnavittula, Ambareesh" userId="f197d401-430a-41cd-858d-78eb301305a2" providerId="ADAL" clId="{C6F363FD-B43B-4D84-9BE1-8F025180C314}" dt="2022-04-14T11:13:28.224" v="901" actId="14100"/>
          <ac:spMkLst>
            <pc:docMk/>
            <pc:sldMk cId="135786923" sldId="260"/>
            <ac:spMk id="8" creationId="{58CE85F7-0BEE-4572-9322-E0D0D53F62C4}"/>
          </ac:spMkLst>
        </pc:spChg>
        <pc:spChg chg="add mod">
          <ac:chgData name="Jonnavittula, Ambareesh" userId="f197d401-430a-41cd-858d-78eb301305a2" providerId="ADAL" clId="{C6F363FD-B43B-4D84-9BE1-8F025180C314}" dt="2022-04-14T15:25:06.073" v="2771" actId="5793"/>
          <ac:spMkLst>
            <pc:docMk/>
            <pc:sldMk cId="135786923" sldId="260"/>
            <ac:spMk id="9" creationId="{E4EA8CE8-6199-4CC3-9D76-789FCAB14904}"/>
          </ac:spMkLst>
        </pc:spChg>
        <pc:spChg chg="add mod">
          <ac:chgData name="Jonnavittula, Ambareesh" userId="f197d401-430a-41cd-858d-78eb301305a2" providerId="ADAL" clId="{C6F363FD-B43B-4D84-9BE1-8F025180C314}" dt="2022-04-14T15:25:27.958" v="2772" actId="5793"/>
          <ac:spMkLst>
            <pc:docMk/>
            <pc:sldMk cId="135786923" sldId="260"/>
            <ac:spMk id="10" creationId="{C311A3E3-24D8-45AD-9615-42EEE1CCD04C}"/>
          </ac:spMkLst>
        </pc:spChg>
        <pc:spChg chg="add mod">
          <ac:chgData name="Jonnavittula, Ambareesh" userId="f197d401-430a-41cd-858d-78eb301305a2" providerId="ADAL" clId="{C6F363FD-B43B-4D84-9BE1-8F025180C314}" dt="2022-04-14T10:54:22.934" v="872" actId="1076"/>
          <ac:spMkLst>
            <pc:docMk/>
            <pc:sldMk cId="135786923" sldId="260"/>
            <ac:spMk id="12" creationId="{FB6223AD-AA7D-4728-AAA0-1E7FA00D835D}"/>
          </ac:spMkLst>
        </pc:spChg>
        <pc:spChg chg="add mod">
          <ac:chgData name="Jonnavittula, Ambareesh" userId="f197d401-430a-41cd-858d-78eb301305a2" providerId="ADAL" clId="{C6F363FD-B43B-4D84-9BE1-8F025180C314}" dt="2022-04-14T13:25:54.788" v="2306" actId="5793"/>
          <ac:spMkLst>
            <pc:docMk/>
            <pc:sldMk cId="135786923" sldId="260"/>
            <ac:spMk id="24" creationId="{7868017C-040E-4486-90E7-BE565DBD6596}"/>
          </ac:spMkLst>
        </pc:spChg>
        <pc:spChg chg="add del mod">
          <ac:chgData name="Jonnavittula, Ambareesh" userId="f197d401-430a-41cd-858d-78eb301305a2" providerId="ADAL" clId="{C6F363FD-B43B-4D84-9BE1-8F025180C314}" dt="2022-04-13T13:19:34.352" v="328" actId="478"/>
          <ac:spMkLst>
            <pc:docMk/>
            <pc:sldMk cId="135786923" sldId="260"/>
            <ac:spMk id="27" creationId="{E4EB7493-66A1-4751-AF0D-3A47A3112C17}"/>
          </ac:spMkLst>
        </pc:spChg>
        <pc:spChg chg="add del mod">
          <ac:chgData name="Jonnavittula, Ambareesh" userId="f197d401-430a-41cd-858d-78eb301305a2" providerId="ADAL" clId="{C6F363FD-B43B-4D84-9BE1-8F025180C314}" dt="2022-04-14T11:17:35.176" v="1095" actId="478"/>
          <ac:spMkLst>
            <pc:docMk/>
            <pc:sldMk cId="135786923" sldId="260"/>
            <ac:spMk id="29" creationId="{24CDB448-8EF3-4EB4-AAFD-26361898605F}"/>
          </ac:spMkLst>
        </pc:spChg>
        <pc:spChg chg="add mod">
          <ac:chgData name="Jonnavittula, Ambareesh" userId="f197d401-430a-41cd-858d-78eb301305a2" providerId="ADAL" clId="{C6F363FD-B43B-4D84-9BE1-8F025180C314}" dt="2022-04-14T11:13:20.470" v="898" actId="1076"/>
          <ac:spMkLst>
            <pc:docMk/>
            <pc:sldMk cId="135786923" sldId="260"/>
            <ac:spMk id="30" creationId="{06552594-B085-4077-A20A-E247CB4A909B}"/>
          </ac:spMkLst>
        </pc:spChg>
        <pc:spChg chg="add mod">
          <ac:chgData name="Jonnavittula, Ambareesh" userId="f197d401-430a-41cd-858d-78eb301305a2" providerId="ADAL" clId="{C6F363FD-B43B-4D84-9BE1-8F025180C314}" dt="2022-04-14T11:13:12.908" v="896" actId="1076"/>
          <ac:spMkLst>
            <pc:docMk/>
            <pc:sldMk cId="135786923" sldId="260"/>
            <ac:spMk id="31" creationId="{F3A2BED6-EEBC-457C-94BD-8D8AC7226034}"/>
          </ac:spMkLst>
        </pc:spChg>
        <pc:spChg chg="add mod">
          <ac:chgData name="Jonnavittula, Ambareesh" userId="f197d401-430a-41cd-858d-78eb301305a2" providerId="ADAL" clId="{C6F363FD-B43B-4D84-9BE1-8F025180C314}" dt="2022-04-14T11:21:55.357" v="1126" actId="1076"/>
          <ac:spMkLst>
            <pc:docMk/>
            <pc:sldMk cId="135786923" sldId="260"/>
            <ac:spMk id="32" creationId="{3635DD47-BB26-4648-9DDD-491EAAD2DA35}"/>
          </ac:spMkLst>
        </pc:spChg>
        <pc:spChg chg="add mod">
          <ac:chgData name="Jonnavittula, Ambareesh" userId="f197d401-430a-41cd-858d-78eb301305a2" providerId="ADAL" clId="{C6F363FD-B43B-4D84-9BE1-8F025180C314}" dt="2022-04-14T11:12:53.599" v="895" actId="20577"/>
          <ac:spMkLst>
            <pc:docMk/>
            <pc:sldMk cId="135786923" sldId="260"/>
            <ac:spMk id="33" creationId="{7114ADFE-4CDE-47EA-ADDC-E4CBDC7ECEE6}"/>
          </ac:spMkLst>
        </pc:spChg>
        <pc:spChg chg="add mod">
          <ac:chgData name="Jonnavittula, Ambareesh" userId="f197d401-430a-41cd-858d-78eb301305a2" providerId="ADAL" clId="{C6F363FD-B43B-4D84-9BE1-8F025180C314}" dt="2022-04-14T13:25:54.788" v="2306" actId="5793"/>
          <ac:spMkLst>
            <pc:docMk/>
            <pc:sldMk cId="135786923" sldId="260"/>
            <ac:spMk id="34" creationId="{1CC109C4-C214-4AF9-AAF7-C5A8992C9F59}"/>
          </ac:spMkLst>
        </pc:spChg>
        <pc:spChg chg="add mod">
          <ac:chgData name="Jonnavittula, Ambareesh" userId="f197d401-430a-41cd-858d-78eb301305a2" providerId="ADAL" clId="{C6F363FD-B43B-4D84-9BE1-8F025180C314}" dt="2022-04-14T11:21:06.761" v="1117" actId="20577"/>
          <ac:spMkLst>
            <pc:docMk/>
            <pc:sldMk cId="135786923" sldId="260"/>
            <ac:spMk id="35" creationId="{DE8AE71C-0880-46D0-BE65-0872977EBA90}"/>
          </ac:spMkLst>
        </pc:spChg>
        <pc:spChg chg="add del">
          <ac:chgData name="Jonnavittula, Ambareesh" userId="f197d401-430a-41cd-858d-78eb301305a2" providerId="ADAL" clId="{C6F363FD-B43B-4D84-9BE1-8F025180C314}" dt="2022-04-14T11:18:29.449" v="1103" actId="5793"/>
          <ac:spMkLst>
            <pc:docMk/>
            <pc:sldMk cId="135786923" sldId="260"/>
            <ac:spMk id="36" creationId="{746B3CB1-70D9-48D5-94E7-F44913F1C479}"/>
          </ac:spMkLst>
        </pc:spChg>
        <pc:spChg chg="del mod">
          <ac:chgData name="Jonnavittula, Ambareesh" userId="f197d401-430a-41cd-858d-78eb301305a2" providerId="ADAL" clId="{C6F363FD-B43B-4D84-9BE1-8F025180C314}" dt="2022-04-13T13:20:42.275" v="413" actId="478"/>
          <ac:spMkLst>
            <pc:docMk/>
            <pc:sldMk cId="135786923" sldId="260"/>
            <ac:spMk id="37" creationId="{207E9CE6-3997-42F8-BA4C-897DC28650F4}"/>
          </ac:spMkLst>
        </pc:spChg>
        <pc:spChg chg="add del">
          <ac:chgData name="Jonnavittula, Ambareesh" userId="f197d401-430a-41cd-858d-78eb301305a2" providerId="ADAL" clId="{C6F363FD-B43B-4D84-9BE1-8F025180C314}" dt="2022-04-14T11:18:31.517" v="1105" actId="5793"/>
          <ac:spMkLst>
            <pc:docMk/>
            <pc:sldMk cId="135786923" sldId="260"/>
            <ac:spMk id="38" creationId="{E1D9B3BF-8A36-4B01-AE4D-851D879D55A8}"/>
          </ac:spMkLst>
        </pc:spChg>
        <pc:spChg chg="del">
          <ac:chgData name="Jonnavittula, Ambareesh" userId="f197d401-430a-41cd-858d-78eb301305a2" providerId="ADAL" clId="{C6F363FD-B43B-4D84-9BE1-8F025180C314}" dt="2022-04-13T13:14:52.585" v="238" actId="478"/>
          <ac:spMkLst>
            <pc:docMk/>
            <pc:sldMk cId="135786923" sldId="260"/>
            <ac:spMk id="43" creationId="{A703B15B-B21B-41A4-AD0A-E6837EB5764B}"/>
          </ac:spMkLst>
        </pc:spChg>
        <pc:spChg chg="del">
          <ac:chgData name="Jonnavittula, Ambareesh" userId="f197d401-430a-41cd-858d-78eb301305a2" providerId="ADAL" clId="{C6F363FD-B43B-4D84-9BE1-8F025180C314}" dt="2022-04-13T13:14:52.585" v="238" actId="478"/>
          <ac:spMkLst>
            <pc:docMk/>
            <pc:sldMk cId="135786923" sldId="260"/>
            <ac:spMk id="44" creationId="{BBE986BA-D09F-442D-B7CE-ED0DF8D93F4E}"/>
          </ac:spMkLst>
        </pc:spChg>
        <pc:spChg chg="del">
          <ac:chgData name="Jonnavittula, Ambareesh" userId="f197d401-430a-41cd-858d-78eb301305a2" providerId="ADAL" clId="{C6F363FD-B43B-4D84-9BE1-8F025180C314}" dt="2022-04-13T13:14:52.585" v="238" actId="478"/>
          <ac:spMkLst>
            <pc:docMk/>
            <pc:sldMk cId="135786923" sldId="260"/>
            <ac:spMk id="45" creationId="{83991513-D625-4DAE-8AAD-12277351EE8F}"/>
          </ac:spMkLst>
        </pc:spChg>
        <pc:spChg chg="del">
          <ac:chgData name="Jonnavittula, Ambareesh" userId="f197d401-430a-41cd-858d-78eb301305a2" providerId="ADAL" clId="{C6F363FD-B43B-4D84-9BE1-8F025180C314}" dt="2022-04-13T13:14:52.585" v="238" actId="478"/>
          <ac:spMkLst>
            <pc:docMk/>
            <pc:sldMk cId="135786923" sldId="260"/>
            <ac:spMk id="46" creationId="{006B1BFF-6A9F-489D-A517-F4E2B30864BA}"/>
          </ac:spMkLst>
        </pc:spChg>
        <pc:spChg chg="del">
          <ac:chgData name="Jonnavittula, Ambareesh" userId="f197d401-430a-41cd-858d-78eb301305a2" providerId="ADAL" clId="{C6F363FD-B43B-4D84-9BE1-8F025180C314}" dt="2022-04-13T13:14:52.585" v="238" actId="478"/>
          <ac:spMkLst>
            <pc:docMk/>
            <pc:sldMk cId="135786923" sldId="260"/>
            <ac:spMk id="47" creationId="{C5522E17-0588-495C-A220-4E2B77747F5F}"/>
          </ac:spMkLst>
        </pc:spChg>
        <pc:spChg chg="del">
          <ac:chgData name="Jonnavittula, Ambareesh" userId="f197d401-430a-41cd-858d-78eb301305a2" providerId="ADAL" clId="{C6F363FD-B43B-4D84-9BE1-8F025180C314}" dt="2022-04-13T13:13:43.640" v="209" actId="478"/>
          <ac:spMkLst>
            <pc:docMk/>
            <pc:sldMk cId="135786923" sldId="260"/>
            <ac:spMk id="48" creationId="{F11C615A-A550-4EDB-AB7E-0CD6019671CC}"/>
          </ac:spMkLst>
        </pc:spChg>
        <pc:spChg chg="add mod">
          <ac:chgData name="Jonnavittula, Ambareesh" userId="f197d401-430a-41cd-858d-78eb301305a2" providerId="ADAL" clId="{C6F363FD-B43B-4D84-9BE1-8F025180C314}" dt="2022-04-14T11:25:31.454" v="1183" actId="1076"/>
          <ac:spMkLst>
            <pc:docMk/>
            <pc:sldMk cId="135786923" sldId="260"/>
            <ac:spMk id="50" creationId="{9664A662-9D63-4B02-BDA6-5C358E4BE770}"/>
          </ac:spMkLst>
        </pc:spChg>
        <pc:spChg chg="add del">
          <ac:chgData name="Jonnavittula, Ambareesh" userId="f197d401-430a-41cd-858d-78eb301305a2" providerId="ADAL" clId="{C6F363FD-B43B-4D84-9BE1-8F025180C314}" dt="2022-04-16T15:04:02.492" v="7737" actId="1076"/>
          <ac:spMkLst>
            <pc:docMk/>
            <pc:sldMk cId="135786923" sldId="260"/>
            <ac:spMk id="51" creationId="{39F66D73-2900-45C2-AA9E-DD8A91779DA1}"/>
          </ac:spMkLst>
        </pc:spChg>
        <pc:spChg chg="add mod">
          <ac:chgData name="Jonnavittula, Ambareesh" userId="f197d401-430a-41cd-858d-78eb301305a2" providerId="ADAL" clId="{C6F363FD-B43B-4D84-9BE1-8F025180C314}" dt="2022-04-16T15:10:53.081" v="7817" actId="1076"/>
          <ac:spMkLst>
            <pc:docMk/>
            <pc:sldMk cId="135786923" sldId="260"/>
            <ac:spMk id="53" creationId="{3C9F3753-C4BA-4656-9A3C-1952E1C63802}"/>
          </ac:spMkLst>
        </pc:spChg>
        <pc:spChg chg="add mod">
          <ac:chgData name="Jonnavittula, Ambareesh" userId="f197d401-430a-41cd-858d-78eb301305a2" providerId="ADAL" clId="{C6F363FD-B43B-4D84-9BE1-8F025180C314}" dt="2022-04-16T13:52:11.264" v="7320" actId="1036"/>
          <ac:spMkLst>
            <pc:docMk/>
            <pc:sldMk cId="135786923" sldId="260"/>
            <ac:spMk id="64" creationId="{E432EDEB-FC25-41EE-B858-950D713468A6}"/>
          </ac:spMkLst>
        </pc:spChg>
        <pc:spChg chg="add mod">
          <ac:chgData name="Jonnavittula, Ambareesh" userId="f197d401-430a-41cd-858d-78eb301305a2" providerId="ADAL" clId="{C6F363FD-B43B-4D84-9BE1-8F025180C314}" dt="2022-04-14T11:33:54.477" v="1220" actId="1076"/>
          <ac:spMkLst>
            <pc:docMk/>
            <pc:sldMk cId="135786923" sldId="260"/>
            <ac:spMk id="74" creationId="{8D7A7F3B-6F81-4FB3-BD7B-CB06E46CEC11}"/>
          </ac:spMkLst>
        </pc:spChg>
        <pc:spChg chg="add mod">
          <ac:chgData name="Jonnavittula, Ambareesh" userId="f197d401-430a-41cd-858d-78eb301305a2" providerId="ADAL" clId="{C6F363FD-B43B-4D84-9BE1-8F025180C314}" dt="2022-04-14T11:48:55.555" v="1653" actId="1076"/>
          <ac:spMkLst>
            <pc:docMk/>
            <pc:sldMk cId="135786923" sldId="260"/>
            <ac:spMk id="81" creationId="{2DCBB450-857A-44A5-BD51-F58750327132}"/>
          </ac:spMkLst>
        </pc:spChg>
        <pc:spChg chg="add mod">
          <ac:chgData name="Jonnavittula, Ambareesh" userId="f197d401-430a-41cd-858d-78eb301305a2" providerId="ADAL" clId="{C6F363FD-B43B-4D84-9BE1-8F025180C314}" dt="2022-04-16T13:52:11.264" v="7320" actId="1036"/>
          <ac:spMkLst>
            <pc:docMk/>
            <pc:sldMk cId="135786923" sldId="260"/>
            <ac:spMk id="92" creationId="{316F9D65-9D62-4021-8710-8BBE393E2E51}"/>
          </ac:spMkLst>
        </pc:spChg>
        <pc:spChg chg="add del mod">
          <ac:chgData name="Jonnavittula, Ambareesh" userId="f197d401-430a-41cd-858d-78eb301305a2" providerId="ADAL" clId="{C6F363FD-B43B-4D84-9BE1-8F025180C314}" dt="2022-04-16T13:51:59.310" v="7289" actId="478"/>
          <ac:spMkLst>
            <pc:docMk/>
            <pc:sldMk cId="135786923" sldId="260"/>
            <ac:spMk id="94" creationId="{D20B0976-BF48-4527-B489-4ADAD644BD19}"/>
          </ac:spMkLst>
        </pc:spChg>
        <pc:spChg chg="add mod">
          <ac:chgData name="Jonnavittula, Ambareesh" userId="f197d401-430a-41cd-858d-78eb301305a2" providerId="ADAL" clId="{C6F363FD-B43B-4D84-9BE1-8F025180C314}" dt="2022-04-16T13:52:11.264" v="7320" actId="1036"/>
          <ac:spMkLst>
            <pc:docMk/>
            <pc:sldMk cId="135786923" sldId="260"/>
            <ac:spMk id="103" creationId="{5A5A98E6-31D4-4F8D-A7A5-3A284A29843E}"/>
          </ac:spMkLst>
        </pc:spChg>
        <pc:spChg chg="add mod">
          <ac:chgData name="Jonnavittula, Ambareesh" userId="f197d401-430a-41cd-858d-78eb301305a2" providerId="ADAL" clId="{C6F363FD-B43B-4D84-9BE1-8F025180C314}" dt="2022-04-16T13:52:11.264" v="7320" actId="1036"/>
          <ac:spMkLst>
            <pc:docMk/>
            <pc:sldMk cId="135786923" sldId="260"/>
            <ac:spMk id="111" creationId="{8BF19B86-4300-43D0-B043-260E98B7F0DC}"/>
          </ac:spMkLst>
        </pc:spChg>
        <pc:spChg chg="add del">
          <ac:chgData name="Jonnavittula, Ambareesh" userId="f197d401-430a-41cd-858d-78eb301305a2" providerId="ADAL" clId="{C6F363FD-B43B-4D84-9BE1-8F025180C314}" dt="2022-04-15T14:46:07.366" v="5743" actId="5793"/>
          <ac:spMkLst>
            <pc:docMk/>
            <pc:sldMk cId="135786923" sldId="260"/>
            <ac:spMk id="114" creationId="{EED004D2-B49A-4383-902F-F8FC853476A8}"/>
          </ac:spMkLst>
        </pc:spChg>
        <pc:graphicFrameChg chg="del">
          <ac:chgData name="Jonnavittula, Ambareesh" userId="f197d401-430a-41cd-858d-78eb301305a2" providerId="ADAL" clId="{C6F363FD-B43B-4D84-9BE1-8F025180C314}" dt="2022-04-13T13:13:43.640" v="209" actId="478"/>
          <ac:graphicFrameMkLst>
            <pc:docMk/>
            <pc:sldMk cId="135786923" sldId="260"/>
            <ac:graphicFrameMk id="2" creationId="{76AF8AC5-5B41-4317-B8FA-E38CA4CFEB00}"/>
          </ac:graphicFrameMkLst>
        </pc:graphicFrameChg>
        <pc:graphicFrameChg chg="del">
          <ac:chgData name="Jonnavittula, Ambareesh" userId="f197d401-430a-41cd-858d-78eb301305a2" providerId="ADAL" clId="{C6F363FD-B43B-4D84-9BE1-8F025180C314}" dt="2022-04-13T13:13:43.640" v="209" actId="478"/>
          <ac:graphicFrameMkLst>
            <pc:docMk/>
            <pc:sldMk cId="135786923" sldId="260"/>
            <ac:graphicFrameMk id="7" creationId="{8E1D6B0E-6F05-4266-A4ED-2611425938B7}"/>
          </ac:graphicFrameMkLst>
        </pc:graphicFrameChg>
        <pc:graphicFrameChg chg="del">
          <ac:chgData name="Jonnavittula, Ambareesh" userId="f197d401-430a-41cd-858d-78eb301305a2" providerId="ADAL" clId="{C6F363FD-B43B-4D84-9BE1-8F025180C314}" dt="2022-04-13T13:13:43.640" v="209" actId="478"/>
          <ac:graphicFrameMkLst>
            <pc:docMk/>
            <pc:sldMk cId="135786923" sldId="260"/>
            <ac:graphicFrameMk id="11" creationId="{CBDE451A-4DBA-4814-BB7F-FEDA30BCA176}"/>
          </ac:graphicFrameMkLst>
        </pc:graphicFrameChg>
        <pc:graphicFrameChg chg="del">
          <ac:chgData name="Jonnavittula, Ambareesh" userId="f197d401-430a-41cd-858d-78eb301305a2" providerId="ADAL" clId="{C6F363FD-B43B-4D84-9BE1-8F025180C314}" dt="2022-04-13T13:13:43.640" v="209" actId="478"/>
          <ac:graphicFrameMkLst>
            <pc:docMk/>
            <pc:sldMk cId="135786923" sldId="260"/>
            <ac:graphicFrameMk id="13" creationId="{BEE66231-A3FB-485A-B821-7F04CBD1278A}"/>
          </ac:graphicFrameMkLst>
        </pc:graphicFrameChg>
        <pc:graphicFrameChg chg="del">
          <ac:chgData name="Jonnavittula, Ambareesh" userId="f197d401-430a-41cd-858d-78eb301305a2" providerId="ADAL" clId="{C6F363FD-B43B-4D84-9BE1-8F025180C314}" dt="2022-04-13T13:13:43.640" v="209" actId="478"/>
          <ac:graphicFrameMkLst>
            <pc:docMk/>
            <pc:sldMk cId="135786923" sldId="260"/>
            <ac:graphicFrameMk id="14" creationId="{9316E372-4205-4D3C-92B8-2B66AAA0D811}"/>
          </ac:graphicFrameMkLst>
        </pc:graphicFrameChg>
        <pc:graphicFrameChg chg="del">
          <ac:chgData name="Jonnavittula, Ambareesh" userId="f197d401-430a-41cd-858d-78eb301305a2" providerId="ADAL" clId="{C6F363FD-B43B-4D84-9BE1-8F025180C314}" dt="2022-04-13T13:13:43.640" v="209" actId="478"/>
          <ac:graphicFrameMkLst>
            <pc:docMk/>
            <pc:sldMk cId="135786923" sldId="260"/>
            <ac:graphicFrameMk id="15" creationId="{460D5C78-4382-4ABF-B481-BFC98CDF109E}"/>
          </ac:graphicFrameMkLst>
        </pc:graphicFrameChg>
        <pc:graphicFrameChg chg="del">
          <ac:chgData name="Jonnavittula, Ambareesh" userId="f197d401-430a-41cd-858d-78eb301305a2" providerId="ADAL" clId="{C6F363FD-B43B-4D84-9BE1-8F025180C314}" dt="2022-04-13T13:13:43.640" v="209" actId="478"/>
          <ac:graphicFrameMkLst>
            <pc:docMk/>
            <pc:sldMk cId="135786923" sldId="260"/>
            <ac:graphicFrameMk id="16" creationId="{21ADE38B-CD8E-40CF-A9F1-3AF46B8BBA9E}"/>
          </ac:graphicFrameMkLst>
        </pc:graphicFrameChg>
        <pc:graphicFrameChg chg="del">
          <ac:chgData name="Jonnavittula, Ambareesh" userId="f197d401-430a-41cd-858d-78eb301305a2" providerId="ADAL" clId="{C6F363FD-B43B-4D84-9BE1-8F025180C314}" dt="2022-04-13T13:13:43.640" v="209" actId="478"/>
          <ac:graphicFrameMkLst>
            <pc:docMk/>
            <pc:sldMk cId="135786923" sldId="260"/>
            <ac:graphicFrameMk id="23" creationId="{88A6815F-EBDA-4ECC-ABAA-DDE985FCDE2A}"/>
          </ac:graphicFrameMkLst>
        </pc:graphicFrameChg>
        <pc:graphicFrameChg chg="del">
          <ac:chgData name="Jonnavittula, Ambareesh" userId="f197d401-430a-41cd-858d-78eb301305a2" providerId="ADAL" clId="{C6F363FD-B43B-4D84-9BE1-8F025180C314}" dt="2022-04-13T13:13:43.640" v="209" actId="478"/>
          <ac:graphicFrameMkLst>
            <pc:docMk/>
            <pc:sldMk cId="135786923" sldId="260"/>
            <ac:graphicFrameMk id="25" creationId="{542B825B-673A-43E8-92FB-E03EEBDC79B8}"/>
          </ac:graphicFrameMkLst>
        </pc:graphicFrameChg>
        <pc:graphicFrameChg chg="del">
          <ac:chgData name="Jonnavittula, Ambareesh" userId="f197d401-430a-41cd-858d-78eb301305a2" providerId="ADAL" clId="{C6F363FD-B43B-4D84-9BE1-8F025180C314}" dt="2022-04-13T13:13:43.640" v="209" actId="478"/>
          <ac:graphicFrameMkLst>
            <pc:docMk/>
            <pc:sldMk cId="135786923" sldId="260"/>
            <ac:graphicFrameMk id="26" creationId="{44B9773D-2415-42ED-B234-3C96F261A83B}"/>
          </ac:graphicFrameMkLst>
        </pc:graphicFrameChg>
        <pc:picChg chg="add mod">
          <ac:chgData name="Jonnavittula, Ambareesh" userId="f197d401-430a-41cd-858d-78eb301305a2" providerId="ADAL" clId="{C6F363FD-B43B-4D84-9BE1-8F025180C314}" dt="2022-04-16T13:52:11.264" v="7320" actId="1036"/>
          <ac:picMkLst>
            <pc:docMk/>
            <pc:sldMk cId="135786923" sldId="260"/>
            <ac:picMk id="56" creationId="{AB36145B-6423-4715-8441-A68D01B648D4}"/>
          </ac:picMkLst>
        </pc:picChg>
        <pc:picChg chg="add del mod">
          <ac:chgData name="Jonnavittula, Ambareesh" userId="f197d401-430a-41cd-858d-78eb301305a2" providerId="ADAL" clId="{C6F363FD-B43B-4D84-9BE1-8F025180C314}" dt="2022-04-14T11:24:43.183" v="1172" actId="478"/>
          <ac:picMkLst>
            <pc:docMk/>
            <pc:sldMk cId="135786923" sldId="260"/>
            <ac:picMk id="60" creationId="{6CAC260E-0B6F-4E2F-99BB-46F5C9C2DB0E}"/>
          </ac:picMkLst>
        </pc:picChg>
        <pc:picChg chg="add mod">
          <ac:chgData name="Jonnavittula, Ambareesh" userId="f197d401-430a-41cd-858d-78eb301305a2" providerId="ADAL" clId="{C6F363FD-B43B-4D84-9BE1-8F025180C314}" dt="2022-04-14T11:44:24.711" v="1568" actId="1076"/>
          <ac:picMkLst>
            <pc:docMk/>
            <pc:sldMk cId="135786923" sldId="260"/>
            <ac:picMk id="66" creationId="{2F56A5F3-AEB0-4116-9194-2A37FDF8C965}"/>
          </ac:picMkLst>
        </pc:picChg>
        <pc:picChg chg="add del mod">
          <ac:chgData name="Jonnavittula, Ambareesh" userId="f197d401-430a-41cd-858d-78eb301305a2" providerId="ADAL" clId="{C6F363FD-B43B-4D84-9BE1-8F025180C314}" dt="2022-04-14T11:43:58.022" v="1561" actId="478"/>
          <ac:picMkLst>
            <pc:docMk/>
            <pc:sldMk cId="135786923" sldId="260"/>
            <ac:picMk id="69" creationId="{1CA4A93A-EB2E-432B-976D-CCD635FB8F00}"/>
          </ac:picMkLst>
        </pc:picChg>
        <pc:picChg chg="add del mod">
          <ac:chgData name="Jonnavittula, Ambareesh" userId="f197d401-430a-41cd-858d-78eb301305a2" providerId="ADAL" clId="{C6F363FD-B43B-4D84-9BE1-8F025180C314}" dt="2022-04-14T11:39:04.291" v="1492" actId="478"/>
          <ac:picMkLst>
            <pc:docMk/>
            <pc:sldMk cId="135786923" sldId="260"/>
            <ac:picMk id="71" creationId="{FAF72E94-E8E1-4012-A701-D37AA29197D0}"/>
          </ac:picMkLst>
        </pc:picChg>
        <pc:picChg chg="add mod">
          <ac:chgData name="Jonnavittula, Ambareesh" userId="f197d401-430a-41cd-858d-78eb301305a2" providerId="ADAL" clId="{C6F363FD-B43B-4D84-9BE1-8F025180C314}" dt="2022-04-14T11:43:23.878" v="1551" actId="1076"/>
          <ac:picMkLst>
            <pc:docMk/>
            <pc:sldMk cId="135786923" sldId="260"/>
            <ac:picMk id="73" creationId="{28D8354E-72B2-40E0-8CEC-54EAF2F039CF}"/>
          </ac:picMkLst>
        </pc:picChg>
        <pc:picChg chg="add del mod">
          <ac:chgData name="Jonnavittula, Ambareesh" userId="f197d401-430a-41cd-858d-78eb301305a2" providerId="ADAL" clId="{C6F363FD-B43B-4D84-9BE1-8F025180C314}" dt="2022-04-14T11:32:57.856" v="1216" actId="478"/>
          <ac:picMkLst>
            <pc:docMk/>
            <pc:sldMk cId="135786923" sldId="260"/>
            <ac:picMk id="79" creationId="{26EDD3E9-E863-43BB-99D9-F1900888C6B2}"/>
          </ac:picMkLst>
        </pc:picChg>
        <pc:picChg chg="add mod">
          <ac:chgData name="Jonnavittula, Ambareesh" userId="f197d401-430a-41cd-858d-78eb301305a2" providerId="ADAL" clId="{C6F363FD-B43B-4D84-9BE1-8F025180C314}" dt="2022-04-16T13:52:11.264" v="7320" actId="1036"/>
          <ac:picMkLst>
            <pc:docMk/>
            <pc:sldMk cId="135786923" sldId="260"/>
            <ac:picMk id="84" creationId="{99EAA67C-3F7B-4777-96E6-CA4FB1C3275D}"/>
          </ac:picMkLst>
        </pc:picChg>
        <pc:picChg chg="add mod">
          <ac:chgData name="Jonnavittula, Ambareesh" userId="f197d401-430a-41cd-858d-78eb301305a2" providerId="ADAL" clId="{C6F363FD-B43B-4D84-9BE1-8F025180C314}" dt="2022-04-14T11:44:16.088" v="1567" actId="1076"/>
          <ac:picMkLst>
            <pc:docMk/>
            <pc:sldMk cId="135786923" sldId="260"/>
            <ac:picMk id="86" creationId="{82CD92CA-394A-4FD7-AD36-604F04748CF5}"/>
          </ac:picMkLst>
        </pc:picChg>
        <pc:picChg chg="add mod">
          <ac:chgData name="Jonnavittula, Ambareesh" userId="f197d401-430a-41cd-858d-78eb301305a2" providerId="ADAL" clId="{C6F363FD-B43B-4D84-9BE1-8F025180C314}" dt="2022-04-16T13:52:11.264" v="7320" actId="1036"/>
          <ac:picMkLst>
            <pc:docMk/>
            <pc:sldMk cId="135786923" sldId="260"/>
            <ac:picMk id="91" creationId="{6EF08AC6-5C67-4771-A27D-7CB43EC8E31A}"/>
          </ac:picMkLst>
        </pc:picChg>
        <pc:picChg chg="add del mod">
          <ac:chgData name="Jonnavittula, Ambareesh" userId="f197d401-430a-41cd-858d-78eb301305a2" providerId="ADAL" clId="{C6F363FD-B43B-4D84-9BE1-8F025180C314}" dt="2022-04-16T13:52:00.151" v="7290" actId="478"/>
          <ac:picMkLst>
            <pc:docMk/>
            <pc:sldMk cId="135786923" sldId="260"/>
            <ac:picMk id="93" creationId="{80772AEE-D9CE-46CD-BCFD-5A7C8CF74460}"/>
          </ac:picMkLst>
        </pc:picChg>
        <pc:picChg chg="add del mod">
          <ac:chgData name="Jonnavittula, Ambareesh" userId="f197d401-430a-41cd-858d-78eb301305a2" providerId="ADAL" clId="{C6F363FD-B43B-4D84-9BE1-8F025180C314}" dt="2022-04-15T13:52:01.969" v="5428" actId="478"/>
          <ac:picMkLst>
            <pc:docMk/>
            <pc:sldMk cId="135786923" sldId="260"/>
            <ac:picMk id="110" creationId="{DD92A325-4223-4DF3-8183-495B050B5D71}"/>
          </ac:picMkLst>
        </pc:picChg>
        <pc:picChg chg="add del mod">
          <ac:chgData name="Jonnavittula, Ambareesh" userId="f197d401-430a-41cd-858d-78eb301305a2" providerId="ADAL" clId="{C6F363FD-B43B-4D84-9BE1-8F025180C314}" dt="2022-04-14T11:44:12.499" v="1565" actId="478"/>
          <ac:picMkLst>
            <pc:docMk/>
            <pc:sldMk cId="135786923" sldId="260"/>
            <ac:picMk id="1024" creationId="{1BA5BCF3-51D0-4DB2-A2DF-E59407FEAF61}"/>
          </ac:picMkLst>
        </pc:picChg>
        <pc:picChg chg="add mod">
          <ac:chgData name="Jonnavittula, Ambareesh" userId="f197d401-430a-41cd-858d-78eb301305a2" providerId="ADAL" clId="{C6F363FD-B43B-4D84-9BE1-8F025180C314}" dt="2022-04-14T11:25:31.454" v="1183" actId="1076"/>
          <ac:picMkLst>
            <pc:docMk/>
            <pc:sldMk cId="135786923" sldId="260"/>
            <ac:picMk id="1026" creationId="{6F4E24C3-4C88-4A9F-BCB3-19760F755180}"/>
          </ac:picMkLst>
        </pc:picChg>
        <pc:picChg chg="add mod">
          <ac:chgData name="Jonnavittula, Ambareesh" userId="f197d401-430a-41cd-858d-78eb301305a2" providerId="ADAL" clId="{C6F363FD-B43B-4D84-9BE1-8F025180C314}" dt="2022-04-14T11:44:49.877" v="1575" actId="1076"/>
          <ac:picMkLst>
            <pc:docMk/>
            <pc:sldMk cId="135786923" sldId="260"/>
            <ac:picMk id="1027" creationId="{0B4EFAE7-BFAC-43AF-9CC4-46F53740F77D}"/>
          </ac:picMkLst>
        </pc:picChg>
        <pc:picChg chg="add mod">
          <ac:chgData name="Jonnavittula, Ambareesh" userId="f197d401-430a-41cd-858d-78eb301305a2" providerId="ADAL" clId="{C6F363FD-B43B-4D84-9BE1-8F025180C314}" dt="2022-04-16T15:10:53.081" v="7817" actId="1076"/>
          <ac:picMkLst>
            <pc:docMk/>
            <pc:sldMk cId="135786923" sldId="260"/>
            <ac:picMk id="1030" creationId="{51100E05-C987-47BA-8865-A49FA3C1AF4F}"/>
          </ac:picMkLst>
        </pc:picChg>
        <pc:picChg chg="add mod">
          <ac:chgData name="Jonnavittula, Ambareesh" userId="f197d401-430a-41cd-858d-78eb301305a2" providerId="ADAL" clId="{C6F363FD-B43B-4D84-9BE1-8F025180C314}" dt="2022-04-16T13:52:11.264" v="7320" actId="1036"/>
          <ac:picMkLst>
            <pc:docMk/>
            <pc:sldMk cId="135786923" sldId="260"/>
            <ac:picMk id="1035" creationId="{C740AD52-7E23-4587-89AC-66970C77B603}"/>
          </ac:picMkLst>
        </pc:picChg>
        <pc:picChg chg="add mod">
          <ac:chgData name="Jonnavittula, Ambareesh" userId="f197d401-430a-41cd-858d-78eb301305a2" providerId="ADAL" clId="{C6F363FD-B43B-4D84-9BE1-8F025180C314}" dt="2022-04-16T15:10:53.081" v="7817" actId="1076"/>
          <ac:picMkLst>
            <pc:docMk/>
            <pc:sldMk cId="135786923" sldId="260"/>
            <ac:picMk id="1036" creationId="{B94B4CA2-2763-4C4D-96E0-7F1EBEE2F68B}"/>
          </ac:picMkLst>
        </pc:picChg>
        <pc:picChg chg="add del">
          <ac:chgData name="Jonnavittula, Ambareesh" userId="f197d401-430a-41cd-858d-78eb301305a2" providerId="ADAL" clId="{C6F363FD-B43B-4D84-9BE1-8F025180C314}" dt="2022-04-14T11:20:21.069" v="1111" actId="478"/>
          <ac:picMkLst>
            <pc:docMk/>
            <pc:sldMk cId="135786923" sldId="260"/>
            <ac:picMk id="1038" creationId="{3F623E54-5518-4A9B-93F6-BD893A649E32}"/>
          </ac:picMkLst>
        </pc:picChg>
        <pc:picChg chg="add del">
          <ac:chgData name="Jonnavittula, Ambareesh" userId="f197d401-430a-41cd-858d-78eb301305a2" providerId="ADAL" clId="{C6F363FD-B43B-4D84-9BE1-8F025180C314}" dt="2022-04-16T15:08:52.965" v="7787" actId="478"/>
          <ac:picMkLst>
            <pc:docMk/>
            <pc:sldMk cId="135786923" sldId="260"/>
            <ac:picMk id="3074" creationId="{3876E405-D9B5-4F61-9ECD-B8B92B3DF1EC}"/>
          </ac:picMkLst>
        </pc:picChg>
        <pc:picChg chg="add mod">
          <ac:chgData name="Jonnavittula, Ambareesh" userId="f197d401-430a-41cd-858d-78eb301305a2" providerId="ADAL" clId="{C6F363FD-B43B-4D84-9BE1-8F025180C314}" dt="2022-04-16T15:10:53.081" v="7817" actId="1076"/>
          <ac:picMkLst>
            <pc:docMk/>
            <pc:sldMk cId="135786923" sldId="260"/>
            <ac:picMk id="3076" creationId="{35F13EC6-E945-4D05-A939-6867293C1BAC}"/>
          </ac:picMkLst>
        </pc:picChg>
        <pc:cxnChg chg="add mod">
          <ac:chgData name="Jonnavittula, Ambareesh" userId="f197d401-430a-41cd-858d-78eb301305a2" providerId="ADAL" clId="{C6F363FD-B43B-4D84-9BE1-8F025180C314}" dt="2022-04-14T11:15:18.660" v="1047" actId="14100"/>
          <ac:cxnSpMkLst>
            <pc:docMk/>
            <pc:sldMk cId="135786923" sldId="260"/>
            <ac:cxnSpMk id="18" creationId="{BBB5FD60-8A94-4CA6-8059-A311E817DD7A}"/>
          </ac:cxnSpMkLst>
        </pc:cxnChg>
        <pc:cxnChg chg="add mod">
          <ac:chgData name="Jonnavittula, Ambareesh" userId="f197d401-430a-41cd-858d-78eb301305a2" providerId="ADAL" clId="{C6F363FD-B43B-4D84-9BE1-8F025180C314}" dt="2022-04-14T11:15:45.826" v="1056" actId="14100"/>
          <ac:cxnSpMkLst>
            <pc:docMk/>
            <pc:sldMk cId="135786923" sldId="260"/>
            <ac:cxnSpMk id="39" creationId="{7D606DA5-7549-45F4-B75F-AAB2BB604FB2}"/>
          </ac:cxnSpMkLst>
        </pc:cxnChg>
        <pc:cxnChg chg="add mod">
          <ac:chgData name="Jonnavittula, Ambareesh" userId="f197d401-430a-41cd-858d-78eb301305a2" providerId="ADAL" clId="{C6F363FD-B43B-4D84-9BE1-8F025180C314}" dt="2022-04-14T11:15:33.841" v="1052" actId="14100"/>
          <ac:cxnSpMkLst>
            <pc:docMk/>
            <pc:sldMk cId="135786923" sldId="260"/>
            <ac:cxnSpMk id="40" creationId="{0EC7723E-8930-4B0C-9581-7920D7EFC3A5}"/>
          </ac:cxnSpMkLst>
        </pc:cxnChg>
        <pc:cxnChg chg="add mod">
          <ac:chgData name="Jonnavittula, Ambareesh" userId="f197d401-430a-41cd-858d-78eb301305a2" providerId="ADAL" clId="{C6F363FD-B43B-4D84-9BE1-8F025180C314}" dt="2022-04-14T11:15:42.201" v="1055" actId="14100"/>
          <ac:cxnSpMkLst>
            <pc:docMk/>
            <pc:sldMk cId="135786923" sldId="260"/>
            <ac:cxnSpMk id="42" creationId="{0791391D-C065-40E4-AA29-FA64B9D686E5}"/>
          </ac:cxnSpMkLst>
        </pc:cxnChg>
        <pc:cxnChg chg="add mod">
          <ac:chgData name="Jonnavittula, Ambareesh" userId="f197d401-430a-41cd-858d-78eb301305a2" providerId="ADAL" clId="{C6F363FD-B43B-4D84-9BE1-8F025180C314}" dt="2022-04-14T11:25:25.805" v="1182" actId="14100"/>
          <ac:cxnSpMkLst>
            <pc:docMk/>
            <pc:sldMk cId="135786923" sldId="260"/>
            <ac:cxnSpMk id="49" creationId="{5AAC802E-E0A3-4F50-B861-F2154702ED75}"/>
          </ac:cxnSpMkLst>
        </pc:cxnChg>
        <pc:cxnChg chg="add del mod">
          <ac:chgData name="Jonnavittula, Ambareesh" userId="f197d401-430a-41cd-858d-78eb301305a2" providerId="ADAL" clId="{C6F363FD-B43B-4D84-9BE1-8F025180C314}" dt="2022-04-14T11:21:52.788" v="1125" actId="478"/>
          <ac:cxnSpMkLst>
            <pc:docMk/>
            <pc:sldMk cId="135786923" sldId="260"/>
            <ac:cxnSpMk id="54" creationId="{F88701B5-E853-4091-BF8B-FA459CC413A0}"/>
          </ac:cxnSpMkLst>
        </pc:cxnChg>
        <pc:cxnChg chg="add mod">
          <ac:chgData name="Jonnavittula, Ambareesh" userId="f197d401-430a-41cd-858d-78eb301305a2" providerId="ADAL" clId="{C6F363FD-B43B-4D84-9BE1-8F025180C314}" dt="2022-04-14T11:25:31.454" v="1183" actId="1076"/>
          <ac:cxnSpMkLst>
            <pc:docMk/>
            <pc:sldMk cId="135786923" sldId="260"/>
            <ac:cxnSpMk id="57" creationId="{162ED711-3F93-40C5-8F78-BDBF6C0EDF1D}"/>
          </ac:cxnSpMkLst>
        </pc:cxnChg>
        <pc:cxnChg chg="add mod">
          <ac:chgData name="Jonnavittula, Ambareesh" userId="f197d401-430a-41cd-858d-78eb301305a2" providerId="ADAL" clId="{C6F363FD-B43B-4D84-9BE1-8F025180C314}" dt="2022-04-16T13:52:11.264" v="7320" actId="1036"/>
          <ac:cxnSpMkLst>
            <pc:docMk/>
            <pc:sldMk cId="135786923" sldId="260"/>
            <ac:cxnSpMk id="59" creationId="{702B581D-162E-4D94-B9AD-5BFDD653A7AF}"/>
          </ac:cxnSpMkLst>
        </pc:cxnChg>
        <pc:cxnChg chg="add del mod">
          <ac:chgData name="Jonnavittula, Ambareesh" userId="f197d401-430a-41cd-858d-78eb301305a2" providerId="ADAL" clId="{C6F363FD-B43B-4D84-9BE1-8F025180C314}" dt="2022-04-16T13:52:01.087" v="7291" actId="478"/>
          <ac:cxnSpMkLst>
            <pc:docMk/>
            <pc:sldMk cId="135786923" sldId="260"/>
            <ac:cxnSpMk id="61" creationId="{E16BE47E-C46A-42EF-BB52-1E7DD33D534B}"/>
          </ac:cxnSpMkLst>
        </pc:cxnChg>
        <pc:cxnChg chg="add mod">
          <ac:chgData name="Jonnavittula, Ambareesh" userId="f197d401-430a-41cd-858d-78eb301305a2" providerId="ADAL" clId="{C6F363FD-B43B-4D84-9BE1-8F025180C314}" dt="2022-04-16T13:52:11.264" v="7320" actId="1036"/>
          <ac:cxnSpMkLst>
            <pc:docMk/>
            <pc:sldMk cId="135786923" sldId="260"/>
            <ac:cxnSpMk id="78" creationId="{B804161B-640A-48BC-AECE-CDA43E96EC81}"/>
          </ac:cxnSpMkLst>
        </pc:cxnChg>
        <pc:cxnChg chg="add mod">
          <ac:chgData name="Jonnavittula, Ambareesh" userId="f197d401-430a-41cd-858d-78eb301305a2" providerId="ADAL" clId="{C6F363FD-B43B-4D84-9BE1-8F025180C314}" dt="2022-04-14T11:35:15.082" v="1285" actId="1076"/>
          <ac:cxnSpMkLst>
            <pc:docMk/>
            <pc:sldMk cId="135786923" sldId="260"/>
            <ac:cxnSpMk id="82" creationId="{995D5D0A-7CE6-47C5-A1DA-595216C5ABA7}"/>
          </ac:cxnSpMkLst>
        </pc:cxnChg>
        <pc:cxnChg chg="add mod">
          <ac:chgData name="Jonnavittula, Ambareesh" userId="f197d401-430a-41cd-858d-78eb301305a2" providerId="ADAL" clId="{C6F363FD-B43B-4D84-9BE1-8F025180C314}" dt="2022-04-16T13:52:11.264" v="7320" actId="1036"/>
          <ac:cxnSpMkLst>
            <pc:docMk/>
            <pc:sldMk cId="135786923" sldId="260"/>
            <ac:cxnSpMk id="87" creationId="{5336CBBA-CA4F-4969-A99D-B42EBFF257A1}"/>
          </ac:cxnSpMkLst>
        </pc:cxnChg>
        <pc:cxnChg chg="add mod">
          <ac:chgData name="Jonnavittula, Ambareesh" userId="f197d401-430a-41cd-858d-78eb301305a2" providerId="ADAL" clId="{C6F363FD-B43B-4D84-9BE1-8F025180C314}" dt="2022-04-16T13:52:11.264" v="7320" actId="1036"/>
          <ac:cxnSpMkLst>
            <pc:docMk/>
            <pc:sldMk cId="135786923" sldId="260"/>
            <ac:cxnSpMk id="88" creationId="{66A2C7DF-020A-4A05-883F-E33EBFD9DD42}"/>
          </ac:cxnSpMkLst>
        </pc:cxnChg>
        <pc:cxnChg chg="add del mod">
          <ac:chgData name="Jonnavittula, Ambareesh" userId="f197d401-430a-41cd-858d-78eb301305a2" providerId="ADAL" clId="{C6F363FD-B43B-4D84-9BE1-8F025180C314}" dt="2022-04-14T11:48:18.049" v="1613" actId="478"/>
          <ac:cxnSpMkLst>
            <pc:docMk/>
            <pc:sldMk cId="135786923" sldId="260"/>
            <ac:cxnSpMk id="89" creationId="{46E6BD38-BF3A-4CC2-8A9D-FF8A717E762B}"/>
          </ac:cxnSpMkLst>
        </pc:cxnChg>
        <pc:cxnChg chg="add mod">
          <ac:chgData name="Jonnavittula, Ambareesh" userId="f197d401-430a-41cd-858d-78eb301305a2" providerId="ADAL" clId="{C6F363FD-B43B-4D84-9BE1-8F025180C314}" dt="2022-04-16T13:52:11.264" v="7320" actId="1036"/>
          <ac:cxnSpMkLst>
            <pc:docMk/>
            <pc:sldMk cId="135786923" sldId="260"/>
            <ac:cxnSpMk id="108" creationId="{ADE06AF1-4234-4BC5-84E2-2C7EF4D31E01}"/>
          </ac:cxnSpMkLst>
        </pc:cxnChg>
      </pc:sldChg>
      <pc:sldChg chg="addSp delSp modSp add ord">
        <pc:chgData name="Jonnavittula, Ambareesh" userId="f197d401-430a-41cd-858d-78eb301305a2" providerId="ADAL" clId="{C6F363FD-B43B-4D84-9BE1-8F025180C314}" dt="2022-04-16T15:11:13.576" v="7825" actId="5793"/>
        <pc:sldMkLst>
          <pc:docMk/>
          <pc:sldMk cId="2166665760" sldId="261"/>
        </pc:sldMkLst>
        <pc:spChg chg="add mod">
          <ac:chgData name="Jonnavittula, Ambareesh" userId="f197d401-430a-41cd-858d-78eb301305a2" providerId="ADAL" clId="{C6F363FD-B43B-4D84-9BE1-8F025180C314}" dt="2022-04-16T15:11:13.576" v="7825" actId="5793"/>
          <ac:spMkLst>
            <pc:docMk/>
            <pc:sldMk cId="2166665760" sldId="261"/>
            <ac:spMk id="2" creationId="{62723273-BC91-41FB-9299-65B3470801A9}"/>
          </ac:spMkLst>
        </pc:spChg>
        <pc:spChg chg="mod">
          <ac:chgData name="Jonnavittula, Ambareesh" userId="f197d401-430a-41cd-858d-78eb301305a2" providerId="ADAL" clId="{C6F363FD-B43B-4D84-9BE1-8F025180C314}" dt="2022-04-13T13:14:11.697" v="230" actId="20577"/>
          <ac:spMkLst>
            <pc:docMk/>
            <pc:sldMk cId="2166665760" sldId="261"/>
            <ac:spMk id="4" creationId="{9C75FEBB-533B-47E3-8571-2B7C626443F1}"/>
          </ac:spMkLst>
        </pc:spChg>
        <pc:spChg chg="add del mod">
          <ac:chgData name="Jonnavittula, Ambareesh" userId="f197d401-430a-41cd-858d-78eb301305a2" providerId="ADAL" clId="{C6F363FD-B43B-4D84-9BE1-8F025180C314}" dt="2022-04-16T15:11:05.205" v="7823" actId="478"/>
          <ac:spMkLst>
            <pc:docMk/>
            <pc:sldMk cId="2166665760" sldId="261"/>
            <ac:spMk id="6" creationId="{B312D319-F021-49FE-89F7-0CB0C64D17C1}"/>
          </ac:spMkLst>
        </pc:spChg>
        <pc:spChg chg="add mod">
          <ac:chgData name="Jonnavittula, Ambareesh" userId="f197d401-430a-41cd-858d-78eb301305a2" providerId="ADAL" clId="{C6F363FD-B43B-4D84-9BE1-8F025180C314}" dt="2022-04-14T13:32:33.109" v="2522" actId="20577"/>
          <ac:spMkLst>
            <pc:docMk/>
            <pc:sldMk cId="2166665760" sldId="261"/>
            <ac:spMk id="11" creationId="{CA546EA7-FB14-499D-83D5-793FF59A4F09}"/>
          </ac:spMkLst>
        </pc:spChg>
        <pc:spChg chg="del">
          <ac:chgData name="Jonnavittula, Ambareesh" userId="f197d401-430a-41cd-858d-78eb301305a2" providerId="ADAL" clId="{C6F363FD-B43B-4D84-9BE1-8F025180C314}" dt="2022-04-13T13:13:56.992" v="213" actId="478"/>
          <ac:spMkLst>
            <pc:docMk/>
            <pc:sldMk cId="2166665760" sldId="261"/>
            <ac:spMk id="37" creationId="{207E9CE6-3997-42F8-BA4C-897DC28650F4}"/>
          </ac:spMkLst>
        </pc:spChg>
        <pc:spChg chg="del">
          <ac:chgData name="Jonnavittula, Ambareesh" userId="f197d401-430a-41cd-858d-78eb301305a2" providerId="ADAL" clId="{C6F363FD-B43B-4D84-9BE1-8F025180C314}" dt="2022-04-13T13:13:56.992" v="213" actId="478"/>
          <ac:spMkLst>
            <pc:docMk/>
            <pc:sldMk cId="2166665760" sldId="261"/>
            <ac:spMk id="43" creationId="{A703B15B-B21B-41A4-AD0A-E6837EB5764B}"/>
          </ac:spMkLst>
        </pc:spChg>
        <pc:spChg chg="del">
          <ac:chgData name="Jonnavittula, Ambareesh" userId="f197d401-430a-41cd-858d-78eb301305a2" providerId="ADAL" clId="{C6F363FD-B43B-4D84-9BE1-8F025180C314}" dt="2022-04-13T13:13:56.992" v="213" actId="478"/>
          <ac:spMkLst>
            <pc:docMk/>
            <pc:sldMk cId="2166665760" sldId="261"/>
            <ac:spMk id="44" creationId="{BBE986BA-D09F-442D-B7CE-ED0DF8D93F4E}"/>
          </ac:spMkLst>
        </pc:spChg>
        <pc:spChg chg="del">
          <ac:chgData name="Jonnavittula, Ambareesh" userId="f197d401-430a-41cd-858d-78eb301305a2" providerId="ADAL" clId="{C6F363FD-B43B-4D84-9BE1-8F025180C314}" dt="2022-04-13T13:13:56.992" v="213" actId="478"/>
          <ac:spMkLst>
            <pc:docMk/>
            <pc:sldMk cId="2166665760" sldId="261"/>
            <ac:spMk id="45" creationId="{83991513-D625-4DAE-8AAD-12277351EE8F}"/>
          </ac:spMkLst>
        </pc:spChg>
        <pc:spChg chg="del">
          <ac:chgData name="Jonnavittula, Ambareesh" userId="f197d401-430a-41cd-858d-78eb301305a2" providerId="ADAL" clId="{C6F363FD-B43B-4D84-9BE1-8F025180C314}" dt="2022-04-13T13:13:56.992" v="213" actId="478"/>
          <ac:spMkLst>
            <pc:docMk/>
            <pc:sldMk cId="2166665760" sldId="261"/>
            <ac:spMk id="46" creationId="{006B1BFF-6A9F-489D-A517-F4E2B30864BA}"/>
          </ac:spMkLst>
        </pc:spChg>
        <pc:spChg chg="del">
          <ac:chgData name="Jonnavittula, Ambareesh" userId="f197d401-430a-41cd-858d-78eb301305a2" providerId="ADAL" clId="{C6F363FD-B43B-4D84-9BE1-8F025180C314}" dt="2022-04-13T13:13:56.992" v="213" actId="478"/>
          <ac:spMkLst>
            <pc:docMk/>
            <pc:sldMk cId="2166665760" sldId="261"/>
            <ac:spMk id="47" creationId="{C5522E17-0588-495C-A220-4E2B77747F5F}"/>
          </ac:spMkLst>
        </pc:spChg>
      </pc:sldChg>
      <pc:sldChg chg="modSp add del ord modTransition setBg">
        <pc:chgData name="Jonnavittula, Ambareesh" userId="f197d401-430a-41cd-858d-78eb301305a2" providerId="ADAL" clId="{C6F363FD-B43B-4D84-9BE1-8F025180C314}" dt="2022-04-16T15:07:59.159" v="7784" actId="2696"/>
        <pc:sldMkLst>
          <pc:docMk/>
          <pc:sldMk cId="2317507080" sldId="262"/>
        </pc:sldMkLst>
        <pc:spChg chg="mod">
          <ac:chgData name="Jonnavittula, Ambareesh" userId="f197d401-430a-41cd-858d-78eb301305a2" providerId="ADAL" clId="{C6F363FD-B43B-4D84-9BE1-8F025180C314}" dt="2022-04-13T13:16:19.828" v="242" actId="14100"/>
          <ac:spMkLst>
            <pc:docMk/>
            <pc:sldMk cId="2317507080" sldId="262"/>
            <ac:spMk id="160" creationId="{225016FB-0238-43AB-93D2-7C6B6212E9FC}"/>
          </ac:spMkLst>
        </pc:spChg>
      </pc:sldChg>
      <pc:sldChg chg="addSp delSp modSp add">
        <pc:chgData name="Jonnavittula, Ambareesh" userId="f197d401-430a-41cd-858d-78eb301305a2" providerId="ADAL" clId="{C6F363FD-B43B-4D84-9BE1-8F025180C314}" dt="2022-04-16T15:11:50.854" v="7829" actId="108"/>
        <pc:sldMkLst>
          <pc:docMk/>
          <pc:sldMk cId="2044495427" sldId="263"/>
        </pc:sldMkLst>
        <pc:spChg chg="add mod">
          <ac:chgData name="Jonnavittula, Ambareesh" userId="f197d401-430a-41cd-858d-78eb301305a2" providerId="ADAL" clId="{C6F363FD-B43B-4D84-9BE1-8F025180C314}" dt="2022-04-14T13:24:07.991" v="2302" actId="1076"/>
          <ac:spMkLst>
            <pc:docMk/>
            <pc:sldMk cId="2044495427" sldId="263"/>
            <ac:spMk id="2" creationId="{3F6608FD-0320-4DCD-BB73-A76FCB15C5B0}"/>
          </ac:spMkLst>
        </pc:spChg>
        <pc:spChg chg="mod">
          <ac:chgData name="Jonnavittula, Ambareesh" userId="f197d401-430a-41cd-858d-78eb301305a2" providerId="ADAL" clId="{C6F363FD-B43B-4D84-9BE1-8F025180C314}" dt="2022-04-14T11:50:50.307" v="1746" actId="20577"/>
          <ac:spMkLst>
            <pc:docMk/>
            <pc:sldMk cId="2044495427" sldId="263"/>
            <ac:spMk id="4" creationId="{9C75FEBB-533B-47E3-8571-2B7C626443F1}"/>
          </ac:spMkLst>
        </pc:spChg>
        <pc:spChg chg="add del">
          <ac:chgData name="Jonnavittula, Ambareesh" userId="f197d401-430a-41cd-858d-78eb301305a2" providerId="ADAL" clId="{C6F363FD-B43B-4D84-9BE1-8F025180C314}" dt="2022-04-14T13:14:18.473" v="1760" actId="478"/>
          <ac:spMkLst>
            <pc:docMk/>
            <pc:sldMk cId="2044495427" sldId="263"/>
            <ac:spMk id="6" creationId="{4DEC3EB5-25A8-4474-BDA7-0F911C4434D7}"/>
          </ac:spMkLst>
        </pc:spChg>
        <pc:spChg chg="add del mod">
          <ac:chgData name="Jonnavittula, Ambareesh" userId="f197d401-430a-41cd-858d-78eb301305a2" providerId="ADAL" clId="{C6F363FD-B43B-4D84-9BE1-8F025180C314}" dt="2022-04-14T15:48:39.732" v="3064" actId="478"/>
          <ac:spMkLst>
            <pc:docMk/>
            <pc:sldMk cId="2044495427" sldId="263"/>
            <ac:spMk id="8" creationId="{58CE85F7-0BEE-4572-9322-E0D0D53F62C4}"/>
          </ac:spMkLst>
        </pc:spChg>
        <pc:spChg chg="add del">
          <ac:chgData name="Jonnavittula, Ambareesh" userId="f197d401-430a-41cd-858d-78eb301305a2" providerId="ADAL" clId="{C6F363FD-B43B-4D84-9BE1-8F025180C314}" dt="2022-04-14T13:14:13.378" v="1758" actId="478"/>
          <ac:spMkLst>
            <pc:docMk/>
            <pc:sldMk cId="2044495427" sldId="263"/>
            <ac:spMk id="9" creationId="{E4EA8CE8-6199-4CC3-9D76-789FCAB14904}"/>
          </ac:spMkLst>
        </pc:spChg>
        <pc:spChg chg="add del">
          <ac:chgData name="Jonnavittula, Ambareesh" userId="f197d401-430a-41cd-858d-78eb301305a2" providerId="ADAL" clId="{C6F363FD-B43B-4D84-9BE1-8F025180C314}" dt="2022-04-14T13:14:13.378" v="1758" actId="478"/>
          <ac:spMkLst>
            <pc:docMk/>
            <pc:sldMk cId="2044495427" sldId="263"/>
            <ac:spMk id="10" creationId="{C311A3E3-24D8-45AD-9615-42EEE1CCD04C}"/>
          </ac:spMkLst>
        </pc:spChg>
        <pc:spChg chg="add del mod">
          <ac:chgData name="Jonnavittula, Ambareesh" userId="f197d401-430a-41cd-858d-78eb301305a2" providerId="ADAL" clId="{C6F363FD-B43B-4D84-9BE1-8F025180C314}" dt="2022-04-14T15:48:48.398" v="3070" actId="478"/>
          <ac:spMkLst>
            <pc:docMk/>
            <pc:sldMk cId="2044495427" sldId="263"/>
            <ac:spMk id="12" creationId="{FB6223AD-AA7D-4728-AAA0-1E7FA00D835D}"/>
          </ac:spMkLst>
        </pc:spChg>
        <pc:spChg chg="add mod">
          <ac:chgData name="Jonnavittula, Ambareesh" userId="f197d401-430a-41cd-858d-78eb301305a2" providerId="ADAL" clId="{C6F363FD-B43B-4D84-9BE1-8F025180C314}" dt="2022-04-14T13:24:35.507" v="2305" actId="5793"/>
          <ac:spMkLst>
            <pc:docMk/>
            <pc:sldMk cId="2044495427" sldId="263"/>
            <ac:spMk id="14" creationId="{7FC2E3C1-15B9-4A41-9E83-78806D63AA8E}"/>
          </ac:spMkLst>
        </pc:spChg>
        <pc:spChg chg="add mod">
          <ac:chgData name="Jonnavittula, Ambareesh" userId="f197d401-430a-41cd-858d-78eb301305a2" providerId="ADAL" clId="{C6F363FD-B43B-4D84-9BE1-8F025180C314}" dt="2022-04-15T14:45:45.881" v="5738" actId="20577"/>
          <ac:spMkLst>
            <pc:docMk/>
            <pc:sldMk cId="2044495427" sldId="263"/>
            <ac:spMk id="16" creationId="{BC3BB81E-D135-4016-8F45-981655C7D9DE}"/>
          </ac:spMkLst>
        </pc:spChg>
        <pc:spChg chg="add del">
          <ac:chgData name="Jonnavittula, Ambareesh" userId="f197d401-430a-41cd-858d-78eb301305a2" providerId="ADAL" clId="{C6F363FD-B43B-4D84-9BE1-8F025180C314}" dt="2022-04-14T13:14:18.473" v="1760" actId="478"/>
          <ac:spMkLst>
            <pc:docMk/>
            <pc:sldMk cId="2044495427" sldId="263"/>
            <ac:spMk id="24" creationId="{7868017C-040E-4486-90E7-BE565DBD6596}"/>
          </ac:spMkLst>
        </pc:spChg>
        <pc:spChg chg="add del">
          <ac:chgData name="Jonnavittula, Ambareesh" userId="f197d401-430a-41cd-858d-78eb301305a2" providerId="ADAL" clId="{C6F363FD-B43B-4D84-9BE1-8F025180C314}" dt="2022-04-14T13:14:13.378" v="1758" actId="478"/>
          <ac:spMkLst>
            <pc:docMk/>
            <pc:sldMk cId="2044495427" sldId="263"/>
            <ac:spMk id="30" creationId="{06552594-B085-4077-A20A-E247CB4A909B}"/>
          </ac:spMkLst>
        </pc:spChg>
        <pc:spChg chg="add del">
          <ac:chgData name="Jonnavittula, Ambareesh" userId="f197d401-430a-41cd-858d-78eb301305a2" providerId="ADAL" clId="{C6F363FD-B43B-4D84-9BE1-8F025180C314}" dt="2022-04-14T13:14:13.378" v="1758" actId="478"/>
          <ac:spMkLst>
            <pc:docMk/>
            <pc:sldMk cId="2044495427" sldId="263"/>
            <ac:spMk id="31" creationId="{F3A2BED6-EEBC-457C-94BD-8D8AC7226034}"/>
          </ac:spMkLst>
        </pc:spChg>
        <pc:spChg chg="add del mod">
          <ac:chgData name="Jonnavittula, Ambareesh" userId="f197d401-430a-41cd-858d-78eb301305a2" providerId="ADAL" clId="{C6F363FD-B43B-4D84-9BE1-8F025180C314}" dt="2022-04-14T15:48:43.158" v="3067" actId="478"/>
          <ac:spMkLst>
            <pc:docMk/>
            <pc:sldMk cId="2044495427" sldId="263"/>
            <ac:spMk id="32" creationId="{3635DD47-BB26-4648-9DDD-491EAAD2DA35}"/>
          </ac:spMkLst>
        </pc:spChg>
        <pc:spChg chg="add del">
          <ac:chgData name="Jonnavittula, Ambareesh" userId="f197d401-430a-41cd-858d-78eb301305a2" providerId="ADAL" clId="{C6F363FD-B43B-4D84-9BE1-8F025180C314}" dt="2022-04-14T13:14:18.473" v="1760" actId="478"/>
          <ac:spMkLst>
            <pc:docMk/>
            <pc:sldMk cId="2044495427" sldId="263"/>
            <ac:spMk id="33" creationId="{7114ADFE-4CDE-47EA-ADDC-E4CBDC7ECEE6}"/>
          </ac:spMkLst>
        </pc:spChg>
        <pc:spChg chg="add del">
          <ac:chgData name="Jonnavittula, Ambareesh" userId="f197d401-430a-41cd-858d-78eb301305a2" providerId="ADAL" clId="{C6F363FD-B43B-4D84-9BE1-8F025180C314}" dt="2022-04-14T13:14:13.378" v="1758" actId="478"/>
          <ac:spMkLst>
            <pc:docMk/>
            <pc:sldMk cId="2044495427" sldId="263"/>
            <ac:spMk id="34" creationId="{1CC109C4-C214-4AF9-AAF7-C5A8992C9F59}"/>
          </ac:spMkLst>
        </pc:spChg>
        <pc:spChg chg="add del mod">
          <ac:chgData name="Jonnavittula, Ambareesh" userId="f197d401-430a-41cd-858d-78eb301305a2" providerId="ADAL" clId="{C6F363FD-B43B-4D84-9BE1-8F025180C314}" dt="2022-04-14T13:14:13.378" v="1758" actId="478"/>
          <ac:spMkLst>
            <pc:docMk/>
            <pc:sldMk cId="2044495427" sldId="263"/>
            <ac:spMk id="35" creationId="{DE8AE71C-0880-46D0-BE65-0872977EBA90}"/>
          </ac:spMkLst>
        </pc:spChg>
        <pc:spChg chg="add del">
          <ac:chgData name="Jonnavittula, Ambareesh" userId="f197d401-430a-41cd-858d-78eb301305a2" providerId="ADAL" clId="{C6F363FD-B43B-4D84-9BE1-8F025180C314}" dt="2022-04-16T14:48:55.909" v="7427" actId="108"/>
          <ac:spMkLst>
            <pc:docMk/>
            <pc:sldMk cId="2044495427" sldId="263"/>
            <ac:spMk id="43" creationId="{44E9F3A8-83E0-4BB1-B84B-8D161BDDF594}"/>
          </ac:spMkLst>
        </pc:spChg>
        <pc:spChg chg="add del mod">
          <ac:chgData name="Jonnavittula, Ambareesh" userId="f197d401-430a-41cd-858d-78eb301305a2" providerId="ADAL" clId="{C6F363FD-B43B-4D84-9BE1-8F025180C314}" dt="2022-04-16T15:03:32.174" v="7724" actId="478"/>
          <ac:spMkLst>
            <pc:docMk/>
            <pc:sldMk cId="2044495427" sldId="263"/>
            <ac:spMk id="45" creationId="{4AFD9D74-2B00-4894-B483-1401CD3EFFA7}"/>
          </ac:spMkLst>
        </pc:spChg>
        <pc:spChg chg="add del mod">
          <ac:chgData name="Jonnavittula, Ambareesh" userId="f197d401-430a-41cd-858d-78eb301305a2" providerId="ADAL" clId="{C6F363FD-B43B-4D84-9BE1-8F025180C314}" dt="2022-04-14T13:15:15.578" v="1810" actId="478"/>
          <ac:spMkLst>
            <pc:docMk/>
            <pc:sldMk cId="2044495427" sldId="263"/>
            <ac:spMk id="46" creationId="{F490BFEA-E434-4598-A6AF-76D5465F3988}"/>
          </ac:spMkLst>
        </pc:spChg>
        <pc:spChg chg="add mod">
          <ac:chgData name="Jonnavittula, Ambareesh" userId="f197d401-430a-41cd-858d-78eb301305a2" providerId="ADAL" clId="{C6F363FD-B43B-4D84-9BE1-8F025180C314}" dt="2022-04-16T15:11:38.331" v="7827" actId="108"/>
          <ac:spMkLst>
            <pc:docMk/>
            <pc:sldMk cId="2044495427" sldId="263"/>
            <ac:spMk id="46" creationId="{8D84C383-F0CB-4138-9CA0-03A3390FB9F9}"/>
          </ac:spMkLst>
        </pc:spChg>
        <pc:spChg chg="add del">
          <ac:chgData name="Jonnavittula, Ambareesh" userId="f197d401-430a-41cd-858d-78eb301305a2" providerId="ADAL" clId="{C6F363FD-B43B-4D84-9BE1-8F025180C314}" dt="2022-04-16T14:50:00.154" v="7440" actId="108"/>
          <ac:spMkLst>
            <pc:docMk/>
            <pc:sldMk cId="2044495427" sldId="263"/>
            <ac:spMk id="47" creationId="{CF6AAF08-8DF9-4510-8CF6-824A31C878A6}"/>
          </ac:spMkLst>
        </pc:spChg>
        <pc:spChg chg="del mod">
          <ac:chgData name="Jonnavittula, Ambareesh" userId="f197d401-430a-41cd-858d-78eb301305a2" providerId="ADAL" clId="{C6F363FD-B43B-4D84-9BE1-8F025180C314}" dt="2022-04-14T11:50:22.218" v="1717" actId="478"/>
          <ac:spMkLst>
            <pc:docMk/>
            <pc:sldMk cId="2044495427" sldId="263"/>
            <ac:spMk id="50" creationId="{9664A662-9D63-4B02-BDA6-5C358E4BE770}"/>
          </ac:spMkLst>
        </pc:spChg>
        <pc:spChg chg="add mod">
          <ac:chgData name="Jonnavittula, Ambareesh" userId="f197d401-430a-41cd-858d-78eb301305a2" providerId="ADAL" clId="{C6F363FD-B43B-4D84-9BE1-8F025180C314}" dt="2022-04-14T15:43:58.337" v="2968" actId="20577"/>
          <ac:spMkLst>
            <pc:docMk/>
            <pc:sldMk cId="2044495427" sldId="263"/>
            <ac:spMk id="54" creationId="{7EB54F16-CF34-4727-9E17-F34DA06C2CCD}"/>
          </ac:spMkLst>
        </pc:spChg>
        <pc:spChg chg="add mod">
          <ac:chgData name="Jonnavittula, Ambareesh" userId="f197d401-430a-41cd-858d-78eb301305a2" providerId="ADAL" clId="{C6F363FD-B43B-4D84-9BE1-8F025180C314}" dt="2022-04-16T15:01:19.771" v="7669" actId="1036"/>
          <ac:spMkLst>
            <pc:docMk/>
            <pc:sldMk cId="2044495427" sldId="263"/>
            <ac:spMk id="59" creationId="{A5398C45-23F5-4A7A-B453-D048D06C91FA}"/>
          </ac:spMkLst>
        </pc:spChg>
        <pc:spChg chg="add del mod">
          <ac:chgData name="Jonnavittula, Ambareesh" userId="f197d401-430a-41cd-858d-78eb301305a2" providerId="ADAL" clId="{C6F363FD-B43B-4D84-9BE1-8F025180C314}" dt="2022-04-14T13:29:41.384" v="2319" actId="478"/>
          <ac:spMkLst>
            <pc:docMk/>
            <pc:sldMk cId="2044495427" sldId="263"/>
            <ac:spMk id="60" creationId="{14D24B24-F930-4DE7-A931-D47C0F17A7CA}"/>
          </ac:spMkLst>
        </pc:spChg>
        <pc:spChg chg="add mod">
          <ac:chgData name="Jonnavittula, Ambareesh" userId="f197d401-430a-41cd-858d-78eb301305a2" providerId="ADAL" clId="{C6F363FD-B43B-4D84-9BE1-8F025180C314}" dt="2022-04-14T15:45:31.158" v="3021" actId="14100"/>
          <ac:spMkLst>
            <pc:docMk/>
            <pc:sldMk cId="2044495427" sldId="263"/>
            <ac:spMk id="62" creationId="{011423F0-8032-43ED-87DE-033E3002126A}"/>
          </ac:spMkLst>
        </pc:spChg>
        <pc:spChg chg="del">
          <ac:chgData name="Jonnavittula, Ambareesh" userId="f197d401-430a-41cd-858d-78eb301305a2" providerId="ADAL" clId="{C6F363FD-B43B-4D84-9BE1-8F025180C314}" dt="2022-04-14T11:50:13.977" v="1712" actId="478"/>
          <ac:spMkLst>
            <pc:docMk/>
            <pc:sldMk cId="2044495427" sldId="263"/>
            <ac:spMk id="64" creationId="{E432EDEB-FC25-41EE-B858-950D713468A6}"/>
          </ac:spMkLst>
        </pc:spChg>
        <pc:spChg chg="add del mod">
          <ac:chgData name="Jonnavittula, Ambareesh" userId="f197d401-430a-41cd-858d-78eb301305a2" providerId="ADAL" clId="{C6F363FD-B43B-4D84-9BE1-8F025180C314}" dt="2022-04-16T15:03:34.023" v="7726" actId="478"/>
          <ac:spMkLst>
            <pc:docMk/>
            <pc:sldMk cId="2044495427" sldId="263"/>
            <ac:spMk id="73" creationId="{ECAD6752-3E68-432B-82EB-99D49765ABB5}"/>
          </ac:spMkLst>
        </pc:spChg>
        <pc:spChg chg="del">
          <ac:chgData name="Jonnavittula, Ambareesh" userId="f197d401-430a-41cd-858d-78eb301305a2" providerId="ADAL" clId="{C6F363FD-B43B-4D84-9BE1-8F025180C314}" dt="2022-04-14T11:50:13.977" v="1712" actId="478"/>
          <ac:spMkLst>
            <pc:docMk/>
            <pc:sldMk cId="2044495427" sldId="263"/>
            <ac:spMk id="74" creationId="{8D7A7F3B-6F81-4FB3-BD7B-CB06E46CEC11}"/>
          </ac:spMkLst>
        </pc:spChg>
        <pc:spChg chg="add mod">
          <ac:chgData name="Jonnavittula, Ambareesh" userId="f197d401-430a-41cd-858d-78eb301305a2" providerId="ADAL" clId="{C6F363FD-B43B-4D84-9BE1-8F025180C314}" dt="2022-04-16T15:11:50.854" v="7829" actId="108"/>
          <ac:spMkLst>
            <pc:docMk/>
            <pc:sldMk cId="2044495427" sldId="263"/>
            <ac:spMk id="74" creationId="{2CD41694-02C2-45AB-A6FE-4C065C480936}"/>
          </ac:spMkLst>
        </pc:spChg>
        <pc:spChg chg="add mod">
          <ac:chgData name="Jonnavittula, Ambareesh" userId="f197d401-430a-41cd-858d-78eb301305a2" providerId="ADAL" clId="{C6F363FD-B43B-4D84-9BE1-8F025180C314}" dt="2022-04-16T15:00:59.362" v="7642" actId="1035"/>
          <ac:spMkLst>
            <pc:docMk/>
            <pc:sldMk cId="2044495427" sldId="263"/>
            <ac:spMk id="75" creationId="{F766CB3B-9D5B-4DFF-99BF-2A36FAD02ECA}"/>
          </ac:spMkLst>
        </pc:spChg>
        <pc:spChg chg="del">
          <ac:chgData name="Jonnavittula, Ambareesh" userId="f197d401-430a-41cd-858d-78eb301305a2" providerId="ADAL" clId="{C6F363FD-B43B-4D84-9BE1-8F025180C314}" dt="2022-04-14T11:50:13.977" v="1712" actId="478"/>
          <ac:spMkLst>
            <pc:docMk/>
            <pc:sldMk cId="2044495427" sldId="263"/>
            <ac:spMk id="81" creationId="{2DCBB450-857A-44A5-BD51-F58750327132}"/>
          </ac:spMkLst>
        </pc:spChg>
        <pc:spChg chg="add del mod">
          <ac:chgData name="Jonnavittula, Ambareesh" userId="f197d401-430a-41cd-858d-78eb301305a2" providerId="ADAL" clId="{C6F363FD-B43B-4D84-9BE1-8F025180C314}" dt="2022-04-16T15:03:33.117" v="7725" actId="478"/>
          <ac:spMkLst>
            <pc:docMk/>
            <pc:sldMk cId="2044495427" sldId="263"/>
            <ac:spMk id="90" creationId="{5125191D-41BD-4B4E-BEAF-5624E0A9A3B4}"/>
          </ac:spMkLst>
        </pc:spChg>
        <pc:spChg chg="add mod">
          <ac:chgData name="Jonnavittula, Ambareesh" userId="f197d401-430a-41cd-858d-78eb301305a2" providerId="ADAL" clId="{C6F363FD-B43B-4D84-9BE1-8F025180C314}" dt="2022-04-16T15:11:47.342" v="7828" actId="108"/>
          <ac:spMkLst>
            <pc:docMk/>
            <pc:sldMk cId="2044495427" sldId="263"/>
            <ac:spMk id="91" creationId="{7B9E4733-8597-4B03-989F-338C74C049E2}"/>
          </ac:spMkLst>
        </pc:spChg>
        <pc:spChg chg="add mod">
          <ac:chgData name="Jonnavittula, Ambareesh" userId="f197d401-430a-41cd-858d-78eb301305a2" providerId="ADAL" clId="{C6F363FD-B43B-4D84-9BE1-8F025180C314}" dt="2022-04-16T15:07:48.114" v="7783" actId="20577"/>
          <ac:spMkLst>
            <pc:docMk/>
            <pc:sldMk cId="2044495427" sldId="263"/>
            <ac:spMk id="92" creationId="{6DFBDC82-F170-4F08-986F-579FEB4511B8}"/>
          </ac:spMkLst>
        </pc:spChg>
        <pc:spChg chg="del">
          <ac:chgData name="Jonnavittula, Ambareesh" userId="f197d401-430a-41cd-858d-78eb301305a2" providerId="ADAL" clId="{C6F363FD-B43B-4D84-9BE1-8F025180C314}" dt="2022-04-14T11:50:13.977" v="1712" actId="478"/>
          <ac:spMkLst>
            <pc:docMk/>
            <pc:sldMk cId="2044495427" sldId="263"/>
            <ac:spMk id="92" creationId="{316F9D65-9D62-4021-8710-8BBE393E2E51}"/>
          </ac:spMkLst>
        </pc:spChg>
        <pc:spChg chg="del">
          <ac:chgData name="Jonnavittula, Ambareesh" userId="f197d401-430a-41cd-858d-78eb301305a2" providerId="ADAL" clId="{C6F363FD-B43B-4D84-9BE1-8F025180C314}" dt="2022-04-14T11:50:13.977" v="1712" actId="478"/>
          <ac:spMkLst>
            <pc:docMk/>
            <pc:sldMk cId="2044495427" sldId="263"/>
            <ac:spMk id="94" creationId="{D20B0976-BF48-4527-B489-4ADAD644BD19}"/>
          </ac:spMkLst>
        </pc:spChg>
        <pc:spChg chg="add del mod">
          <ac:chgData name="Jonnavittula, Ambareesh" userId="f197d401-430a-41cd-858d-78eb301305a2" providerId="ADAL" clId="{C6F363FD-B43B-4D84-9BE1-8F025180C314}" dt="2022-04-14T16:08:23.236" v="4861" actId="478"/>
          <ac:spMkLst>
            <pc:docMk/>
            <pc:sldMk cId="2044495427" sldId="263"/>
            <ac:spMk id="98" creationId="{F665BA01-4E27-4298-9CA2-4E520476C09B}"/>
          </ac:spMkLst>
        </pc:spChg>
        <pc:spChg chg="add mod">
          <ac:chgData name="Jonnavittula, Ambareesh" userId="f197d401-430a-41cd-858d-78eb301305a2" providerId="ADAL" clId="{C6F363FD-B43B-4D84-9BE1-8F025180C314}" dt="2022-04-15T14:44:03.388" v="5582" actId="1076"/>
          <ac:spMkLst>
            <pc:docMk/>
            <pc:sldMk cId="2044495427" sldId="263"/>
            <ac:spMk id="99" creationId="{E9E6785F-16F9-4087-A524-3207E7409E3F}"/>
          </ac:spMkLst>
        </pc:spChg>
        <pc:spChg chg="del">
          <ac:chgData name="Jonnavittula, Ambareesh" userId="f197d401-430a-41cd-858d-78eb301305a2" providerId="ADAL" clId="{C6F363FD-B43B-4D84-9BE1-8F025180C314}" dt="2022-04-14T11:50:13.977" v="1712" actId="478"/>
          <ac:spMkLst>
            <pc:docMk/>
            <pc:sldMk cId="2044495427" sldId="263"/>
            <ac:spMk id="103" creationId="{5A5A98E6-31D4-4F8D-A7A5-3A284A29843E}"/>
          </ac:spMkLst>
        </pc:spChg>
        <pc:spChg chg="add mod">
          <ac:chgData name="Jonnavittula, Ambareesh" userId="f197d401-430a-41cd-858d-78eb301305a2" providerId="ADAL" clId="{C6F363FD-B43B-4D84-9BE1-8F025180C314}" dt="2022-04-15T14:57:42.601" v="6062" actId="1076"/>
          <ac:spMkLst>
            <pc:docMk/>
            <pc:sldMk cId="2044495427" sldId="263"/>
            <ac:spMk id="105" creationId="{54CC2FE8-716E-4610-AEA2-3F3D0E6A6557}"/>
          </ac:spMkLst>
        </pc:spChg>
        <pc:spChg chg="add mod">
          <ac:chgData name="Jonnavittula, Ambareesh" userId="f197d401-430a-41cd-858d-78eb301305a2" providerId="ADAL" clId="{C6F363FD-B43B-4D84-9BE1-8F025180C314}" dt="2022-04-15T14:56:08.799" v="6054" actId="1076"/>
          <ac:spMkLst>
            <pc:docMk/>
            <pc:sldMk cId="2044495427" sldId="263"/>
            <ac:spMk id="107" creationId="{042681D8-AA08-48C8-897B-605ADDF2EA93}"/>
          </ac:spMkLst>
        </pc:spChg>
        <pc:spChg chg="add mod">
          <ac:chgData name="Jonnavittula, Ambareesh" userId="f197d401-430a-41cd-858d-78eb301305a2" providerId="ADAL" clId="{C6F363FD-B43B-4D84-9BE1-8F025180C314}" dt="2022-04-15T14:47:24.833" v="5768" actId="20577"/>
          <ac:spMkLst>
            <pc:docMk/>
            <pc:sldMk cId="2044495427" sldId="263"/>
            <ac:spMk id="110" creationId="{3AA32836-08F0-48C8-8460-8D6D5ECEA555}"/>
          </ac:spMkLst>
        </pc:spChg>
        <pc:spChg chg="add mod">
          <ac:chgData name="Jonnavittula, Ambareesh" userId="f197d401-430a-41cd-858d-78eb301305a2" providerId="ADAL" clId="{C6F363FD-B43B-4D84-9BE1-8F025180C314}" dt="2022-04-16T14:48:55.143" v="7426" actId="1076"/>
          <ac:spMkLst>
            <pc:docMk/>
            <pc:sldMk cId="2044495427" sldId="263"/>
            <ac:spMk id="111" creationId="{BF91005C-44AC-4622-96C1-5E80322CB285}"/>
          </ac:spMkLst>
        </pc:spChg>
        <pc:spChg chg="add del mod">
          <ac:chgData name="Jonnavittula, Ambareesh" userId="f197d401-430a-41cd-858d-78eb301305a2" providerId="ADAL" clId="{C6F363FD-B43B-4D84-9BE1-8F025180C314}" dt="2022-04-15T14:50:09.936" v="5902" actId="478"/>
          <ac:spMkLst>
            <pc:docMk/>
            <pc:sldMk cId="2044495427" sldId="263"/>
            <ac:spMk id="116" creationId="{0695D716-FE9C-47C9-A87C-AC9BF6AEF836}"/>
          </ac:spMkLst>
        </pc:spChg>
        <pc:spChg chg="add mod">
          <ac:chgData name="Jonnavittula, Ambareesh" userId="f197d401-430a-41cd-858d-78eb301305a2" providerId="ADAL" clId="{C6F363FD-B43B-4D84-9BE1-8F025180C314}" dt="2022-04-16T14:48:26.176" v="7415" actId="1076"/>
          <ac:spMkLst>
            <pc:docMk/>
            <pc:sldMk cId="2044495427" sldId="263"/>
            <ac:spMk id="117" creationId="{013F2DA0-023C-49D4-8C32-4DDEC8EAE2A0}"/>
          </ac:spMkLst>
        </pc:spChg>
        <pc:spChg chg="add mod">
          <ac:chgData name="Jonnavittula, Ambareesh" userId="f197d401-430a-41cd-858d-78eb301305a2" providerId="ADAL" clId="{C6F363FD-B43B-4D84-9BE1-8F025180C314}" dt="2022-04-15T14:55:39.857" v="6046" actId="1076"/>
          <ac:spMkLst>
            <pc:docMk/>
            <pc:sldMk cId="2044495427" sldId="263"/>
            <ac:spMk id="118" creationId="{D16C2EDD-8363-497E-ABC9-43AB53A372E9}"/>
          </ac:spMkLst>
        </pc:spChg>
        <pc:spChg chg="add mod">
          <ac:chgData name="Jonnavittula, Ambareesh" userId="f197d401-430a-41cd-858d-78eb301305a2" providerId="ADAL" clId="{C6F363FD-B43B-4D84-9BE1-8F025180C314}" dt="2022-04-16T15:07:04.271" v="7772" actId="14100"/>
          <ac:spMkLst>
            <pc:docMk/>
            <pc:sldMk cId="2044495427" sldId="263"/>
            <ac:spMk id="120" creationId="{329A8FF2-E62B-4E21-B44A-A2D39C563E56}"/>
          </ac:spMkLst>
        </pc:spChg>
        <pc:spChg chg="add del mod">
          <ac:chgData name="Jonnavittula, Ambareesh" userId="f197d401-430a-41cd-858d-78eb301305a2" providerId="ADAL" clId="{C6F363FD-B43B-4D84-9BE1-8F025180C314}" dt="2022-04-15T14:53:59.044" v="6002" actId="478"/>
          <ac:spMkLst>
            <pc:docMk/>
            <pc:sldMk cId="2044495427" sldId="263"/>
            <ac:spMk id="126" creationId="{BB740571-44A3-4A3E-B37E-7E52DEC995B9}"/>
          </ac:spMkLst>
        </pc:spChg>
        <pc:spChg chg="add mod">
          <ac:chgData name="Jonnavittula, Ambareesh" userId="f197d401-430a-41cd-858d-78eb301305a2" providerId="ADAL" clId="{C6F363FD-B43B-4D84-9BE1-8F025180C314}" dt="2022-04-15T14:55:52.422" v="6050" actId="1076"/>
          <ac:spMkLst>
            <pc:docMk/>
            <pc:sldMk cId="2044495427" sldId="263"/>
            <ac:spMk id="130" creationId="{9B20872D-FAE8-46DD-88F8-1F4ECF74C59B}"/>
          </ac:spMkLst>
        </pc:spChg>
        <pc:spChg chg="add mod">
          <ac:chgData name="Jonnavittula, Ambareesh" userId="f197d401-430a-41cd-858d-78eb301305a2" providerId="ADAL" clId="{C6F363FD-B43B-4D84-9BE1-8F025180C314}" dt="2022-04-16T15:06:36.855" v="7769" actId="14100"/>
          <ac:spMkLst>
            <pc:docMk/>
            <pc:sldMk cId="2044495427" sldId="263"/>
            <ac:spMk id="132" creationId="{8426A78F-EE77-4904-B819-7265706CF79F}"/>
          </ac:spMkLst>
        </pc:spChg>
        <pc:spChg chg="add del mod">
          <ac:chgData name="Jonnavittula, Ambareesh" userId="f197d401-430a-41cd-858d-78eb301305a2" providerId="ADAL" clId="{C6F363FD-B43B-4D84-9BE1-8F025180C314}" dt="2022-04-16T14:46:21.347" v="7397" actId="478"/>
          <ac:spMkLst>
            <pc:docMk/>
            <pc:sldMk cId="2044495427" sldId="263"/>
            <ac:spMk id="156" creationId="{867E0855-16CF-486B-AE08-ECD49099D38C}"/>
          </ac:spMkLst>
        </pc:spChg>
        <pc:spChg chg="add del mod">
          <ac:chgData name="Jonnavittula, Ambareesh" userId="f197d401-430a-41cd-858d-78eb301305a2" providerId="ADAL" clId="{C6F363FD-B43B-4D84-9BE1-8F025180C314}" dt="2022-04-16T14:45:29.112" v="7387" actId="108"/>
          <ac:spMkLst>
            <pc:docMk/>
            <pc:sldMk cId="2044495427" sldId="263"/>
            <ac:spMk id="1048" creationId="{F05C01D3-10ED-428A-9704-6F5CA4ECAC95}"/>
          </ac:spMkLst>
        </pc:spChg>
        <pc:picChg chg="del">
          <ac:chgData name="Jonnavittula, Ambareesh" userId="f197d401-430a-41cd-858d-78eb301305a2" providerId="ADAL" clId="{C6F363FD-B43B-4D84-9BE1-8F025180C314}" dt="2022-04-14T11:50:13.977" v="1712" actId="478"/>
          <ac:picMkLst>
            <pc:docMk/>
            <pc:sldMk cId="2044495427" sldId="263"/>
            <ac:picMk id="56" creationId="{AB36145B-6423-4715-8441-A68D01B648D4}"/>
          </ac:picMkLst>
        </pc:picChg>
        <pc:picChg chg="del">
          <ac:chgData name="Jonnavittula, Ambareesh" userId="f197d401-430a-41cd-858d-78eb301305a2" providerId="ADAL" clId="{C6F363FD-B43B-4D84-9BE1-8F025180C314}" dt="2022-04-14T11:50:13.977" v="1712" actId="478"/>
          <ac:picMkLst>
            <pc:docMk/>
            <pc:sldMk cId="2044495427" sldId="263"/>
            <ac:picMk id="66" creationId="{2F56A5F3-AEB0-4116-9194-2A37FDF8C965}"/>
          </ac:picMkLst>
        </pc:picChg>
        <pc:picChg chg="del">
          <ac:chgData name="Jonnavittula, Ambareesh" userId="f197d401-430a-41cd-858d-78eb301305a2" providerId="ADAL" clId="{C6F363FD-B43B-4D84-9BE1-8F025180C314}" dt="2022-04-14T11:50:13.977" v="1712" actId="478"/>
          <ac:picMkLst>
            <pc:docMk/>
            <pc:sldMk cId="2044495427" sldId="263"/>
            <ac:picMk id="73" creationId="{28D8354E-72B2-40E0-8CEC-54EAF2F039CF}"/>
          </ac:picMkLst>
        </pc:picChg>
        <pc:picChg chg="del">
          <ac:chgData name="Jonnavittula, Ambareesh" userId="f197d401-430a-41cd-858d-78eb301305a2" providerId="ADAL" clId="{C6F363FD-B43B-4D84-9BE1-8F025180C314}" dt="2022-04-14T11:50:13.977" v="1712" actId="478"/>
          <ac:picMkLst>
            <pc:docMk/>
            <pc:sldMk cId="2044495427" sldId="263"/>
            <ac:picMk id="84" creationId="{99EAA67C-3F7B-4777-96E6-CA4FB1C3275D}"/>
          </ac:picMkLst>
        </pc:picChg>
        <pc:picChg chg="del">
          <ac:chgData name="Jonnavittula, Ambareesh" userId="f197d401-430a-41cd-858d-78eb301305a2" providerId="ADAL" clId="{C6F363FD-B43B-4D84-9BE1-8F025180C314}" dt="2022-04-14T11:50:13.977" v="1712" actId="478"/>
          <ac:picMkLst>
            <pc:docMk/>
            <pc:sldMk cId="2044495427" sldId="263"/>
            <ac:picMk id="86" creationId="{82CD92CA-394A-4FD7-AD36-604F04748CF5}"/>
          </ac:picMkLst>
        </pc:picChg>
        <pc:picChg chg="del">
          <ac:chgData name="Jonnavittula, Ambareesh" userId="f197d401-430a-41cd-858d-78eb301305a2" providerId="ADAL" clId="{C6F363FD-B43B-4D84-9BE1-8F025180C314}" dt="2022-04-14T11:50:13.977" v="1712" actId="478"/>
          <ac:picMkLst>
            <pc:docMk/>
            <pc:sldMk cId="2044495427" sldId="263"/>
            <ac:picMk id="91" creationId="{6EF08AC6-5C67-4771-A27D-7CB43EC8E31A}"/>
          </ac:picMkLst>
        </pc:picChg>
        <pc:picChg chg="del">
          <ac:chgData name="Jonnavittula, Ambareesh" userId="f197d401-430a-41cd-858d-78eb301305a2" providerId="ADAL" clId="{C6F363FD-B43B-4D84-9BE1-8F025180C314}" dt="2022-04-14T11:50:13.977" v="1712" actId="478"/>
          <ac:picMkLst>
            <pc:docMk/>
            <pc:sldMk cId="2044495427" sldId="263"/>
            <ac:picMk id="93" creationId="{80772AEE-D9CE-46CD-BCFD-5A7C8CF74460}"/>
          </ac:picMkLst>
        </pc:picChg>
        <pc:picChg chg="del">
          <ac:chgData name="Jonnavittula, Ambareesh" userId="f197d401-430a-41cd-858d-78eb301305a2" providerId="ADAL" clId="{C6F363FD-B43B-4D84-9BE1-8F025180C314}" dt="2022-04-14T11:50:17.972" v="1715" actId="478"/>
          <ac:picMkLst>
            <pc:docMk/>
            <pc:sldMk cId="2044495427" sldId="263"/>
            <ac:picMk id="1026" creationId="{6F4E24C3-4C88-4A9F-BCB3-19760F755180}"/>
          </ac:picMkLst>
        </pc:picChg>
        <pc:picChg chg="del">
          <ac:chgData name="Jonnavittula, Ambareesh" userId="f197d401-430a-41cd-858d-78eb301305a2" providerId="ADAL" clId="{C6F363FD-B43B-4D84-9BE1-8F025180C314}" dt="2022-04-14T11:50:13.977" v="1712" actId="478"/>
          <ac:picMkLst>
            <pc:docMk/>
            <pc:sldMk cId="2044495427" sldId="263"/>
            <ac:picMk id="1027" creationId="{0B4EFAE7-BFAC-43AF-9CC4-46F53740F77D}"/>
          </ac:picMkLst>
        </pc:picChg>
        <pc:picChg chg="del">
          <ac:chgData name="Jonnavittula, Ambareesh" userId="f197d401-430a-41cd-858d-78eb301305a2" providerId="ADAL" clId="{C6F363FD-B43B-4D84-9BE1-8F025180C314}" dt="2022-04-14T11:50:17.324" v="1714" actId="478"/>
          <ac:picMkLst>
            <pc:docMk/>
            <pc:sldMk cId="2044495427" sldId="263"/>
            <ac:picMk id="1030" creationId="{51100E05-C987-47BA-8865-A49FA3C1AF4F}"/>
          </ac:picMkLst>
        </pc:picChg>
        <pc:picChg chg="del">
          <ac:chgData name="Jonnavittula, Ambareesh" userId="f197d401-430a-41cd-858d-78eb301305a2" providerId="ADAL" clId="{C6F363FD-B43B-4D84-9BE1-8F025180C314}" dt="2022-04-14T11:50:17.324" v="1714" actId="478"/>
          <ac:picMkLst>
            <pc:docMk/>
            <pc:sldMk cId="2044495427" sldId="263"/>
            <ac:picMk id="1036" creationId="{B94B4CA2-2763-4C4D-96E0-7F1EBEE2F68B}"/>
          </ac:picMkLst>
        </pc:picChg>
        <pc:cxnChg chg="add mod">
          <ac:chgData name="Jonnavittula, Ambareesh" userId="f197d401-430a-41cd-858d-78eb301305a2" providerId="ADAL" clId="{C6F363FD-B43B-4D84-9BE1-8F025180C314}" dt="2022-04-14T13:24:18.256" v="2304" actId="14100"/>
          <ac:cxnSpMkLst>
            <pc:docMk/>
            <pc:sldMk cId="2044495427" sldId="263"/>
            <ac:cxnSpMk id="13" creationId="{03E1F3B4-56D7-4936-8243-736669AA3B7E}"/>
          </ac:cxnSpMkLst>
        </pc:cxnChg>
        <pc:cxnChg chg="add del mod">
          <ac:chgData name="Jonnavittula, Ambareesh" userId="f197d401-430a-41cd-858d-78eb301305a2" providerId="ADAL" clId="{C6F363FD-B43B-4D84-9BE1-8F025180C314}" dt="2022-04-14T15:48:41.514" v="3066" actId="478"/>
          <ac:cxnSpMkLst>
            <pc:docMk/>
            <pc:sldMk cId="2044495427" sldId="263"/>
            <ac:cxnSpMk id="18" creationId="{BBB5FD60-8A94-4CA6-8059-A311E817DD7A}"/>
          </ac:cxnSpMkLst>
        </pc:cxnChg>
        <pc:cxnChg chg="add mod">
          <ac:chgData name="Jonnavittula, Ambareesh" userId="f197d401-430a-41cd-858d-78eb301305a2" providerId="ADAL" clId="{C6F363FD-B43B-4D84-9BE1-8F025180C314}" dt="2022-04-14T15:42:48.575" v="2924" actId="14100"/>
          <ac:cxnSpMkLst>
            <pc:docMk/>
            <pc:sldMk cId="2044495427" sldId="263"/>
            <ac:cxnSpMk id="21" creationId="{77F728D7-3D3D-4E27-B834-6BB856EFF418}"/>
          </ac:cxnSpMkLst>
        </pc:cxnChg>
        <pc:cxnChg chg="add del mod">
          <ac:chgData name="Jonnavittula, Ambareesh" userId="f197d401-430a-41cd-858d-78eb301305a2" providerId="ADAL" clId="{C6F363FD-B43B-4D84-9BE1-8F025180C314}" dt="2022-04-16T14:58:54.647" v="7581" actId="478"/>
          <ac:cxnSpMkLst>
            <pc:docMk/>
            <pc:sldMk cId="2044495427" sldId="263"/>
            <ac:cxnSpMk id="35" creationId="{173CF7D9-F9F0-4440-9A6B-905DF7B85900}"/>
          </ac:cxnSpMkLst>
        </pc:cxnChg>
        <pc:cxnChg chg="add mod">
          <ac:chgData name="Jonnavittula, Ambareesh" userId="f197d401-430a-41cd-858d-78eb301305a2" providerId="ADAL" clId="{C6F363FD-B43B-4D84-9BE1-8F025180C314}" dt="2022-04-16T14:48:55.143" v="7426" actId="1076"/>
          <ac:cxnSpMkLst>
            <pc:docMk/>
            <pc:sldMk cId="2044495427" sldId="263"/>
            <ac:cxnSpMk id="36" creationId="{064500D1-D0D4-4F49-B268-5F23E84CF014}"/>
          </ac:cxnSpMkLst>
        </pc:cxnChg>
        <pc:cxnChg chg="add del mod">
          <ac:chgData name="Jonnavittula, Ambareesh" userId="f197d401-430a-41cd-858d-78eb301305a2" providerId="ADAL" clId="{C6F363FD-B43B-4D84-9BE1-8F025180C314}" dt="2022-04-14T16:08:10.034" v="4850" actId="478"/>
          <ac:cxnSpMkLst>
            <pc:docMk/>
            <pc:sldMk cId="2044495427" sldId="263"/>
            <ac:cxnSpMk id="39" creationId="{7D606DA5-7549-45F4-B75F-AAB2BB604FB2}"/>
          </ac:cxnSpMkLst>
        </pc:cxnChg>
        <pc:cxnChg chg="add del">
          <ac:chgData name="Jonnavittula, Ambareesh" userId="f197d401-430a-41cd-858d-78eb301305a2" providerId="ADAL" clId="{C6F363FD-B43B-4D84-9BE1-8F025180C314}" dt="2022-04-14T13:14:13.378" v="1758" actId="478"/>
          <ac:cxnSpMkLst>
            <pc:docMk/>
            <pc:sldMk cId="2044495427" sldId="263"/>
            <ac:cxnSpMk id="40" creationId="{0EC7723E-8930-4B0C-9581-7920D7EFC3A5}"/>
          </ac:cxnSpMkLst>
        </pc:cxnChg>
        <pc:cxnChg chg="add mod">
          <ac:chgData name="Jonnavittula, Ambareesh" userId="f197d401-430a-41cd-858d-78eb301305a2" providerId="ADAL" clId="{C6F363FD-B43B-4D84-9BE1-8F025180C314}" dt="2022-04-16T15:01:19.771" v="7669" actId="1036"/>
          <ac:cxnSpMkLst>
            <pc:docMk/>
            <pc:sldMk cId="2044495427" sldId="263"/>
            <ac:cxnSpMk id="41" creationId="{24729BBF-E2AA-4550-A9BC-4F53557F1F97}"/>
          </ac:cxnSpMkLst>
        </pc:cxnChg>
        <pc:cxnChg chg="add mod">
          <ac:chgData name="Jonnavittula, Ambareesh" userId="f197d401-430a-41cd-858d-78eb301305a2" providerId="ADAL" clId="{C6F363FD-B43B-4D84-9BE1-8F025180C314}" dt="2022-04-16T15:01:09.050" v="7644" actId="14100"/>
          <ac:cxnSpMkLst>
            <pc:docMk/>
            <pc:sldMk cId="2044495427" sldId="263"/>
            <ac:cxnSpMk id="42" creationId="{381D6391-CA1D-4A04-9B8D-9AF52B25A7F2}"/>
          </ac:cxnSpMkLst>
        </pc:cxnChg>
        <pc:cxnChg chg="add del mod">
          <ac:chgData name="Jonnavittula, Ambareesh" userId="f197d401-430a-41cd-858d-78eb301305a2" providerId="ADAL" clId="{C6F363FD-B43B-4D84-9BE1-8F025180C314}" dt="2022-04-14T15:48:40.650" v="3065" actId="478"/>
          <ac:cxnSpMkLst>
            <pc:docMk/>
            <pc:sldMk cId="2044495427" sldId="263"/>
            <ac:cxnSpMk id="42" creationId="{0791391D-C065-40E4-AA29-FA64B9D686E5}"/>
          </ac:cxnSpMkLst>
        </pc:cxnChg>
        <pc:cxnChg chg="add del mod">
          <ac:chgData name="Jonnavittula, Ambareesh" userId="f197d401-430a-41cd-858d-78eb301305a2" providerId="ADAL" clId="{C6F363FD-B43B-4D84-9BE1-8F025180C314}" dt="2022-04-16T14:52:20.847" v="7483" actId="478"/>
          <ac:cxnSpMkLst>
            <pc:docMk/>
            <pc:sldMk cId="2044495427" sldId="263"/>
            <ac:cxnSpMk id="48" creationId="{CE8A6D5D-66BA-481F-80D5-80CD4A379620}"/>
          </ac:cxnSpMkLst>
        </pc:cxnChg>
        <pc:cxnChg chg="add del mod">
          <ac:chgData name="Jonnavittula, Ambareesh" userId="f197d401-430a-41cd-858d-78eb301305a2" providerId="ADAL" clId="{C6F363FD-B43B-4D84-9BE1-8F025180C314}" dt="2022-04-14T13:17:12.845" v="1879" actId="478"/>
          <ac:cxnSpMkLst>
            <pc:docMk/>
            <pc:sldMk cId="2044495427" sldId="263"/>
            <ac:cxnSpMk id="48" creationId="{253B745A-1D21-4FAE-AFB3-B881C347697B}"/>
          </ac:cxnSpMkLst>
        </pc:cxnChg>
        <pc:cxnChg chg="del">
          <ac:chgData name="Jonnavittula, Ambareesh" userId="f197d401-430a-41cd-858d-78eb301305a2" providerId="ADAL" clId="{C6F363FD-B43B-4D84-9BE1-8F025180C314}" dt="2022-04-14T11:50:23.650" v="1718" actId="478"/>
          <ac:cxnSpMkLst>
            <pc:docMk/>
            <pc:sldMk cId="2044495427" sldId="263"/>
            <ac:cxnSpMk id="49" creationId="{5AAC802E-E0A3-4F50-B861-F2154702ED75}"/>
          </ac:cxnSpMkLst>
        </pc:cxnChg>
        <pc:cxnChg chg="add mod">
          <ac:chgData name="Jonnavittula, Ambareesh" userId="f197d401-430a-41cd-858d-78eb301305a2" providerId="ADAL" clId="{C6F363FD-B43B-4D84-9BE1-8F025180C314}" dt="2022-04-14T13:24:02.908" v="2300" actId="1076"/>
          <ac:cxnSpMkLst>
            <pc:docMk/>
            <pc:sldMk cId="2044495427" sldId="263"/>
            <ac:cxnSpMk id="55" creationId="{CEFE8BDE-1C66-4449-9630-994811828B01}"/>
          </ac:cxnSpMkLst>
        </pc:cxnChg>
        <pc:cxnChg chg="del">
          <ac:chgData name="Jonnavittula, Ambareesh" userId="f197d401-430a-41cd-858d-78eb301305a2" providerId="ADAL" clId="{C6F363FD-B43B-4D84-9BE1-8F025180C314}" dt="2022-04-14T11:50:15.750" v="1713" actId="478"/>
          <ac:cxnSpMkLst>
            <pc:docMk/>
            <pc:sldMk cId="2044495427" sldId="263"/>
            <ac:cxnSpMk id="57" creationId="{162ED711-3F93-40C5-8F78-BDBF6C0EDF1D}"/>
          </ac:cxnSpMkLst>
        </pc:cxnChg>
        <pc:cxnChg chg="add del mod">
          <ac:chgData name="Jonnavittula, Ambareesh" userId="f197d401-430a-41cd-858d-78eb301305a2" providerId="ADAL" clId="{C6F363FD-B43B-4D84-9BE1-8F025180C314}" dt="2022-04-14T15:46:59.395" v="3040" actId="478"/>
          <ac:cxnSpMkLst>
            <pc:docMk/>
            <pc:sldMk cId="2044495427" sldId="263"/>
            <ac:cxnSpMk id="58" creationId="{068B645C-A756-4676-A807-119BFBCED9BE}"/>
          </ac:cxnSpMkLst>
        </pc:cxnChg>
        <pc:cxnChg chg="del">
          <ac:chgData name="Jonnavittula, Ambareesh" userId="f197d401-430a-41cd-858d-78eb301305a2" providerId="ADAL" clId="{C6F363FD-B43B-4D84-9BE1-8F025180C314}" dt="2022-04-14T11:50:13.977" v="1712" actId="478"/>
          <ac:cxnSpMkLst>
            <pc:docMk/>
            <pc:sldMk cId="2044495427" sldId="263"/>
            <ac:cxnSpMk id="59" creationId="{702B581D-162E-4D94-B9AD-5BFDD653A7AF}"/>
          </ac:cxnSpMkLst>
        </pc:cxnChg>
        <pc:cxnChg chg="add mod">
          <ac:chgData name="Jonnavittula, Ambareesh" userId="f197d401-430a-41cd-858d-78eb301305a2" providerId="ADAL" clId="{C6F363FD-B43B-4D84-9BE1-8F025180C314}" dt="2022-04-16T15:03:39.108" v="7730" actId="14100"/>
          <ac:cxnSpMkLst>
            <pc:docMk/>
            <pc:sldMk cId="2044495427" sldId="263"/>
            <ac:cxnSpMk id="60" creationId="{6DD3E0A2-C529-4937-8CDC-B2075C582BF4}"/>
          </ac:cxnSpMkLst>
        </pc:cxnChg>
        <pc:cxnChg chg="del">
          <ac:chgData name="Jonnavittula, Ambareesh" userId="f197d401-430a-41cd-858d-78eb301305a2" providerId="ADAL" clId="{C6F363FD-B43B-4D84-9BE1-8F025180C314}" dt="2022-04-14T11:50:13.977" v="1712" actId="478"/>
          <ac:cxnSpMkLst>
            <pc:docMk/>
            <pc:sldMk cId="2044495427" sldId="263"/>
            <ac:cxnSpMk id="61" creationId="{E16BE47E-C46A-42EF-BB52-1E7DD33D534B}"/>
          </ac:cxnSpMkLst>
        </pc:cxnChg>
        <pc:cxnChg chg="add mod">
          <ac:chgData name="Jonnavittula, Ambareesh" userId="f197d401-430a-41cd-858d-78eb301305a2" providerId="ADAL" clId="{C6F363FD-B43B-4D84-9BE1-8F025180C314}" dt="2022-04-14T15:45:31.158" v="3021" actId="14100"/>
          <ac:cxnSpMkLst>
            <pc:docMk/>
            <pc:sldMk cId="2044495427" sldId="263"/>
            <ac:cxnSpMk id="63" creationId="{94989D36-C160-4082-BBC1-5C6E25BD84B5}"/>
          </ac:cxnSpMkLst>
        </pc:cxnChg>
        <pc:cxnChg chg="add mod">
          <ac:chgData name="Jonnavittula, Ambareesh" userId="f197d401-430a-41cd-858d-78eb301305a2" providerId="ADAL" clId="{C6F363FD-B43B-4D84-9BE1-8F025180C314}" dt="2022-04-14T15:42:54.210" v="2925" actId="1037"/>
          <ac:cxnSpMkLst>
            <pc:docMk/>
            <pc:sldMk cId="2044495427" sldId="263"/>
            <ac:cxnSpMk id="67" creationId="{E37B8FC2-C03F-4E18-B8F0-398AD51F8F55}"/>
          </ac:cxnSpMkLst>
        </pc:cxnChg>
        <pc:cxnChg chg="add del mod">
          <ac:chgData name="Jonnavittula, Ambareesh" userId="f197d401-430a-41cd-858d-78eb301305a2" providerId="ADAL" clId="{C6F363FD-B43B-4D84-9BE1-8F025180C314}" dt="2022-04-16T15:03:36.758" v="7729" actId="478"/>
          <ac:cxnSpMkLst>
            <pc:docMk/>
            <pc:sldMk cId="2044495427" sldId="263"/>
            <ac:cxnSpMk id="68" creationId="{E5521A01-033E-419A-A312-26667DACF248}"/>
          </ac:cxnSpMkLst>
        </pc:cxnChg>
        <pc:cxnChg chg="add mod">
          <ac:chgData name="Jonnavittula, Ambareesh" userId="f197d401-430a-41cd-858d-78eb301305a2" providerId="ADAL" clId="{C6F363FD-B43B-4D84-9BE1-8F025180C314}" dt="2022-04-16T15:00:59.362" v="7642" actId="1035"/>
          <ac:cxnSpMkLst>
            <pc:docMk/>
            <pc:sldMk cId="2044495427" sldId="263"/>
            <ac:cxnSpMk id="72" creationId="{0B95D537-59A2-49B9-8844-A21B7104CAD6}"/>
          </ac:cxnSpMkLst>
        </pc:cxnChg>
        <pc:cxnChg chg="add del mod">
          <ac:chgData name="Jonnavittula, Ambareesh" userId="f197d401-430a-41cd-858d-78eb301305a2" providerId="ADAL" clId="{C6F363FD-B43B-4D84-9BE1-8F025180C314}" dt="2022-04-14T15:47:00.445" v="3041" actId="478"/>
          <ac:cxnSpMkLst>
            <pc:docMk/>
            <pc:sldMk cId="2044495427" sldId="263"/>
            <ac:cxnSpMk id="75" creationId="{A30E1E06-5ADA-4A7A-92C9-4BEE47BCBC53}"/>
          </ac:cxnSpMkLst>
        </pc:cxnChg>
        <pc:cxnChg chg="add mod">
          <ac:chgData name="Jonnavittula, Ambareesh" userId="f197d401-430a-41cd-858d-78eb301305a2" providerId="ADAL" clId="{C6F363FD-B43B-4D84-9BE1-8F025180C314}" dt="2022-04-16T15:06:58.775" v="7771" actId="1076"/>
          <ac:cxnSpMkLst>
            <pc:docMk/>
            <pc:sldMk cId="2044495427" sldId="263"/>
            <ac:cxnSpMk id="76" creationId="{25B263C9-589B-4830-BA3A-ACD7F40B8A3D}"/>
          </ac:cxnSpMkLst>
        </pc:cxnChg>
        <pc:cxnChg chg="add del mod">
          <ac:chgData name="Jonnavittula, Ambareesh" userId="f197d401-430a-41cd-858d-78eb301305a2" providerId="ADAL" clId="{C6F363FD-B43B-4D84-9BE1-8F025180C314}" dt="2022-04-16T15:03:35.167" v="7727" actId="478"/>
          <ac:cxnSpMkLst>
            <pc:docMk/>
            <pc:sldMk cId="2044495427" sldId="263"/>
            <ac:cxnSpMk id="77" creationId="{3C87F42B-2115-47ED-8341-34C739C6D9FF}"/>
          </ac:cxnSpMkLst>
        </pc:cxnChg>
        <pc:cxnChg chg="add del mod">
          <ac:chgData name="Jonnavittula, Ambareesh" userId="f197d401-430a-41cd-858d-78eb301305a2" providerId="ADAL" clId="{C6F363FD-B43B-4D84-9BE1-8F025180C314}" dt="2022-04-15T14:43:55.558" v="5579" actId="478"/>
          <ac:cxnSpMkLst>
            <pc:docMk/>
            <pc:sldMk cId="2044495427" sldId="263"/>
            <ac:cxnSpMk id="77" creationId="{3ECCD96E-DE9E-4D74-8484-BD4BBB2794AF}"/>
          </ac:cxnSpMkLst>
        </pc:cxnChg>
        <pc:cxnChg chg="del">
          <ac:chgData name="Jonnavittula, Ambareesh" userId="f197d401-430a-41cd-858d-78eb301305a2" providerId="ADAL" clId="{C6F363FD-B43B-4D84-9BE1-8F025180C314}" dt="2022-04-14T11:50:13.977" v="1712" actId="478"/>
          <ac:cxnSpMkLst>
            <pc:docMk/>
            <pc:sldMk cId="2044495427" sldId="263"/>
            <ac:cxnSpMk id="78" creationId="{B804161B-640A-48BC-AECE-CDA43E96EC81}"/>
          </ac:cxnSpMkLst>
        </pc:cxnChg>
        <pc:cxnChg chg="del">
          <ac:chgData name="Jonnavittula, Ambareesh" userId="f197d401-430a-41cd-858d-78eb301305a2" providerId="ADAL" clId="{C6F363FD-B43B-4D84-9BE1-8F025180C314}" dt="2022-04-14T11:50:13.977" v="1712" actId="478"/>
          <ac:cxnSpMkLst>
            <pc:docMk/>
            <pc:sldMk cId="2044495427" sldId="263"/>
            <ac:cxnSpMk id="82" creationId="{995D5D0A-7CE6-47C5-A1DA-595216C5ABA7}"/>
          </ac:cxnSpMkLst>
        </pc:cxnChg>
        <pc:cxnChg chg="add mod">
          <ac:chgData name="Jonnavittula, Ambareesh" userId="f197d401-430a-41cd-858d-78eb301305a2" providerId="ADAL" clId="{C6F363FD-B43B-4D84-9BE1-8F025180C314}" dt="2022-04-15T14:47:06.056" v="5762" actId="14100"/>
          <ac:cxnSpMkLst>
            <pc:docMk/>
            <pc:sldMk cId="2044495427" sldId="263"/>
            <ac:cxnSpMk id="83" creationId="{FBBEF265-7041-4F98-B315-FB8E4FEA6491}"/>
          </ac:cxnSpMkLst>
        </pc:cxnChg>
        <pc:cxnChg chg="del">
          <ac:chgData name="Jonnavittula, Ambareesh" userId="f197d401-430a-41cd-858d-78eb301305a2" providerId="ADAL" clId="{C6F363FD-B43B-4D84-9BE1-8F025180C314}" dt="2022-04-14T11:50:13.977" v="1712" actId="478"/>
          <ac:cxnSpMkLst>
            <pc:docMk/>
            <pc:sldMk cId="2044495427" sldId="263"/>
            <ac:cxnSpMk id="87" creationId="{5336CBBA-CA4F-4969-A99D-B42EBFF257A1}"/>
          </ac:cxnSpMkLst>
        </pc:cxnChg>
        <pc:cxnChg chg="del">
          <ac:chgData name="Jonnavittula, Ambareesh" userId="f197d401-430a-41cd-858d-78eb301305a2" providerId="ADAL" clId="{C6F363FD-B43B-4D84-9BE1-8F025180C314}" dt="2022-04-14T11:50:13.977" v="1712" actId="478"/>
          <ac:cxnSpMkLst>
            <pc:docMk/>
            <pc:sldMk cId="2044495427" sldId="263"/>
            <ac:cxnSpMk id="88" creationId="{66A2C7DF-020A-4A05-883F-E33EBFD9DD42}"/>
          </ac:cxnSpMkLst>
        </pc:cxnChg>
        <pc:cxnChg chg="add mod">
          <ac:chgData name="Jonnavittula, Ambareesh" userId="f197d401-430a-41cd-858d-78eb301305a2" providerId="ADAL" clId="{C6F363FD-B43B-4D84-9BE1-8F025180C314}" dt="2022-04-16T15:00:51.115" v="7623" actId="1035"/>
          <ac:cxnSpMkLst>
            <pc:docMk/>
            <pc:sldMk cId="2044495427" sldId="263"/>
            <ac:cxnSpMk id="89" creationId="{2765BEBC-558C-40E7-8521-AD6834DDEE85}"/>
          </ac:cxnSpMkLst>
        </pc:cxnChg>
        <pc:cxnChg chg="add mod">
          <ac:chgData name="Jonnavittula, Ambareesh" userId="f197d401-430a-41cd-858d-78eb301305a2" providerId="ADAL" clId="{C6F363FD-B43B-4D84-9BE1-8F025180C314}" dt="2022-04-16T15:03:41.597" v="7731" actId="14100"/>
          <ac:cxnSpMkLst>
            <pc:docMk/>
            <pc:sldMk cId="2044495427" sldId="263"/>
            <ac:cxnSpMk id="93" creationId="{48D24688-A8BA-4BA5-84C7-35596DF06DB5}"/>
          </ac:cxnSpMkLst>
        </pc:cxnChg>
        <pc:cxnChg chg="add del mod">
          <ac:chgData name="Jonnavittula, Ambareesh" userId="f197d401-430a-41cd-858d-78eb301305a2" providerId="ADAL" clId="{C6F363FD-B43B-4D84-9BE1-8F025180C314}" dt="2022-04-16T15:03:35.944" v="7728" actId="478"/>
          <ac:cxnSpMkLst>
            <pc:docMk/>
            <pc:sldMk cId="2044495427" sldId="263"/>
            <ac:cxnSpMk id="94" creationId="{47CBC9DE-D80E-44A3-A08B-7CDADB62A016}"/>
          </ac:cxnSpMkLst>
        </pc:cxnChg>
        <pc:cxnChg chg="add mod">
          <ac:chgData name="Jonnavittula, Ambareesh" userId="f197d401-430a-41cd-858d-78eb301305a2" providerId="ADAL" clId="{C6F363FD-B43B-4D84-9BE1-8F025180C314}" dt="2022-04-15T14:47:03.389" v="5761" actId="14100"/>
          <ac:cxnSpMkLst>
            <pc:docMk/>
            <pc:sldMk cId="2044495427" sldId="263"/>
            <ac:cxnSpMk id="95" creationId="{B9A10C1E-72D9-48D6-86DA-D914B286D401}"/>
          </ac:cxnSpMkLst>
        </pc:cxnChg>
        <pc:cxnChg chg="add mod">
          <ac:chgData name="Jonnavittula, Ambareesh" userId="f197d401-430a-41cd-858d-78eb301305a2" providerId="ADAL" clId="{C6F363FD-B43B-4D84-9BE1-8F025180C314}" dt="2022-04-15T14:55:07.505" v="6037" actId="14100"/>
          <ac:cxnSpMkLst>
            <pc:docMk/>
            <pc:sldMk cId="2044495427" sldId="263"/>
            <ac:cxnSpMk id="96" creationId="{5C2FCA77-72C2-4081-8C20-B2CE1F945F3F}"/>
          </ac:cxnSpMkLst>
        </pc:cxnChg>
        <pc:cxnChg chg="add mod">
          <ac:chgData name="Jonnavittula, Ambareesh" userId="f197d401-430a-41cd-858d-78eb301305a2" providerId="ADAL" clId="{C6F363FD-B43B-4D84-9BE1-8F025180C314}" dt="2022-04-15T14:46:01.592" v="5741" actId="14100"/>
          <ac:cxnSpMkLst>
            <pc:docMk/>
            <pc:sldMk cId="2044495427" sldId="263"/>
            <ac:cxnSpMk id="97" creationId="{DE6D92F3-DCA9-4A9B-B81F-07BC391E6D72}"/>
          </ac:cxnSpMkLst>
        </pc:cxnChg>
        <pc:cxnChg chg="add mod">
          <ac:chgData name="Jonnavittula, Ambareesh" userId="f197d401-430a-41cd-858d-78eb301305a2" providerId="ADAL" clId="{C6F363FD-B43B-4D84-9BE1-8F025180C314}" dt="2022-04-15T14:44:00.552" v="5581" actId="1076"/>
          <ac:cxnSpMkLst>
            <pc:docMk/>
            <pc:sldMk cId="2044495427" sldId="263"/>
            <ac:cxnSpMk id="100" creationId="{C39AFF4F-0A7A-4FA2-85AB-5C3CD93C6560}"/>
          </ac:cxnSpMkLst>
        </pc:cxnChg>
        <pc:cxnChg chg="add del mod">
          <ac:chgData name="Jonnavittula, Ambareesh" userId="f197d401-430a-41cd-858d-78eb301305a2" providerId="ADAL" clId="{C6F363FD-B43B-4D84-9BE1-8F025180C314}" dt="2022-04-15T14:53:39.099" v="5995" actId="478"/>
          <ac:cxnSpMkLst>
            <pc:docMk/>
            <pc:sldMk cId="2044495427" sldId="263"/>
            <ac:cxnSpMk id="106" creationId="{4D148F7F-9D30-4ECD-B353-16F6252B17C4}"/>
          </ac:cxnSpMkLst>
        </pc:cxnChg>
        <pc:cxnChg chg="add del mod">
          <ac:chgData name="Jonnavittula, Ambareesh" userId="f197d401-430a-41cd-858d-78eb301305a2" providerId="ADAL" clId="{C6F363FD-B43B-4D84-9BE1-8F025180C314}" dt="2022-04-15T14:56:40.684" v="6055" actId="478"/>
          <ac:cxnSpMkLst>
            <pc:docMk/>
            <pc:sldMk cId="2044495427" sldId="263"/>
            <ac:cxnSpMk id="113" creationId="{C05C4CA0-F067-4B5F-923A-46DE51DD341B}"/>
          </ac:cxnSpMkLst>
        </pc:cxnChg>
        <pc:cxnChg chg="add del mod">
          <ac:chgData name="Jonnavittula, Ambareesh" userId="f197d401-430a-41cd-858d-78eb301305a2" providerId="ADAL" clId="{C6F363FD-B43B-4D84-9BE1-8F025180C314}" dt="2022-04-16T14:47:28.524" v="7401" actId="478"/>
          <ac:cxnSpMkLst>
            <pc:docMk/>
            <pc:sldMk cId="2044495427" sldId="263"/>
            <ac:cxnSpMk id="114" creationId="{5D1AFFCE-9BC5-4C31-A185-DFF8F31C7427}"/>
          </ac:cxnSpMkLst>
        </pc:cxnChg>
        <pc:cxnChg chg="add del">
          <ac:chgData name="Jonnavittula, Ambareesh" userId="f197d401-430a-41cd-858d-78eb301305a2" providerId="ADAL" clId="{C6F363FD-B43B-4D84-9BE1-8F025180C314}" dt="2022-04-15T14:49:45.357" v="5898" actId="5793"/>
          <ac:cxnSpMkLst>
            <pc:docMk/>
            <pc:sldMk cId="2044495427" sldId="263"/>
            <ac:cxnSpMk id="115" creationId="{CFAF06C3-3E76-4BB0-B072-EBB337B126D4}"/>
          </ac:cxnSpMkLst>
        </pc:cxnChg>
        <pc:cxnChg chg="add mod">
          <ac:chgData name="Jonnavittula, Ambareesh" userId="f197d401-430a-41cd-858d-78eb301305a2" providerId="ADAL" clId="{C6F363FD-B43B-4D84-9BE1-8F025180C314}" dt="2022-04-15T14:55:58.566" v="6052" actId="14100"/>
          <ac:cxnSpMkLst>
            <pc:docMk/>
            <pc:sldMk cId="2044495427" sldId="263"/>
            <ac:cxnSpMk id="119" creationId="{50C96C81-2533-4940-B7AF-E71DF1156A27}"/>
          </ac:cxnSpMkLst>
        </pc:cxnChg>
        <pc:cxnChg chg="add del mod">
          <ac:chgData name="Jonnavittula, Ambareesh" userId="f197d401-430a-41cd-858d-78eb301305a2" providerId="ADAL" clId="{C6F363FD-B43B-4D84-9BE1-8F025180C314}" dt="2022-04-15T14:55:26.786" v="6042" actId="478"/>
          <ac:cxnSpMkLst>
            <pc:docMk/>
            <pc:sldMk cId="2044495427" sldId="263"/>
            <ac:cxnSpMk id="121" creationId="{9AC9119F-CB70-4571-82D3-1CD73EEBCCCA}"/>
          </ac:cxnSpMkLst>
        </pc:cxnChg>
        <pc:cxnChg chg="add mod">
          <ac:chgData name="Jonnavittula, Ambareesh" userId="f197d401-430a-41cd-858d-78eb301305a2" providerId="ADAL" clId="{C6F363FD-B43B-4D84-9BE1-8F025180C314}" dt="2022-04-16T15:07:15.189" v="7775" actId="14100"/>
          <ac:cxnSpMkLst>
            <pc:docMk/>
            <pc:sldMk cId="2044495427" sldId="263"/>
            <ac:cxnSpMk id="121" creationId="{75E0AA27-D047-47D9-80BC-6E60CCD7A494}"/>
          </ac:cxnSpMkLst>
        </pc:cxnChg>
        <pc:cxnChg chg="add del">
          <ac:chgData name="Jonnavittula, Ambareesh" userId="f197d401-430a-41cd-858d-78eb301305a2" providerId="ADAL" clId="{C6F363FD-B43B-4D84-9BE1-8F025180C314}" dt="2022-04-16T15:05:37.510" v="7747" actId="478"/>
          <ac:cxnSpMkLst>
            <pc:docMk/>
            <pc:sldMk cId="2044495427" sldId="263"/>
            <ac:cxnSpMk id="123" creationId="{618E931F-B9F2-4C11-9A96-F1864BC491FA}"/>
          </ac:cxnSpMkLst>
        </pc:cxnChg>
        <pc:cxnChg chg="add mod">
          <ac:chgData name="Jonnavittula, Ambareesh" userId="f197d401-430a-41cd-858d-78eb301305a2" providerId="ADAL" clId="{C6F363FD-B43B-4D84-9BE1-8F025180C314}" dt="2022-04-16T15:07:12.879" v="7774" actId="14100"/>
          <ac:cxnSpMkLst>
            <pc:docMk/>
            <pc:sldMk cId="2044495427" sldId="263"/>
            <ac:cxnSpMk id="124" creationId="{5A2E2CB1-062D-44B4-8F5D-022C77A22D08}"/>
          </ac:cxnSpMkLst>
        </pc:cxnChg>
        <pc:cxnChg chg="add del mod">
          <ac:chgData name="Jonnavittula, Ambareesh" userId="f197d401-430a-41cd-858d-78eb301305a2" providerId="ADAL" clId="{C6F363FD-B43B-4D84-9BE1-8F025180C314}" dt="2022-04-15T14:54:25.432" v="6024" actId="478"/>
          <ac:cxnSpMkLst>
            <pc:docMk/>
            <pc:sldMk cId="2044495427" sldId="263"/>
            <ac:cxnSpMk id="127" creationId="{954FF90A-F236-4382-A716-CABA531CDB0F}"/>
          </ac:cxnSpMkLst>
        </pc:cxnChg>
        <pc:cxnChg chg="add mod">
          <ac:chgData name="Jonnavittula, Ambareesh" userId="f197d401-430a-41cd-858d-78eb301305a2" providerId="ADAL" clId="{C6F363FD-B43B-4D84-9BE1-8F025180C314}" dt="2022-04-15T14:55:52.422" v="6050" actId="1076"/>
          <ac:cxnSpMkLst>
            <pc:docMk/>
            <pc:sldMk cId="2044495427" sldId="263"/>
            <ac:cxnSpMk id="131" creationId="{E16CD645-A69D-405E-AA52-A39BB6C001FD}"/>
          </ac:cxnSpMkLst>
        </pc:cxnChg>
        <pc:cxnChg chg="add mod">
          <ac:chgData name="Jonnavittula, Ambareesh" userId="f197d401-430a-41cd-858d-78eb301305a2" providerId="ADAL" clId="{C6F363FD-B43B-4D84-9BE1-8F025180C314}" dt="2022-04-15T14:56:01.537" v="6053" actId="14100"/>
          <ac:cxnSpMkLst>
            <pc:docMk/>
            <pc:sldMk cId="2044495427" sldId="263"/>
            <ac:cxnSpMk id="133" creationId="{5CE9B468-E026-4F22-83E5-533D17E8A809}"/>
          </ac:cxnSpMkLst>
        </pc:cxnChg>
        <pc:cxnChg chg="add mod">
          <ac:chgData name="Jonnavittula, Ambareesh" userId="f197d401-430a-41cd-858d-78eb301305a2" providerId="ADAL" clId="{C6F363FD-B43B-4D84-9BE1-8F025180C314}" dt="2022-04-15T14:55:56.222" v="6051" actId="14100"/>
          <ac:cxnSpMkLst>
            <pc:docMk/>
            <pc:sldMk cId="2044495427" sldId="263"/>
            <ac:cxnSpMk id="143" creationId="{DF646DFF-33D9-4C37-BF89-E6CF685A6AC0}"/>
          </ac:cxnSpMkLst>
        </pc:cxnChg>
        <pc:cxnChg chg="add mod">
          <ac:chgData name="Jonnavittula, Ambareesh" userId="f197d401-430a-41cd-858d-78eb301305a2" providerId="ADAL" clId="{C6F363FD-B43B-4D84-9BE1-8F025180C314}" dt="2022-04-15T14:57:29.150" v="6061" actId="14100"/>
          <ac:cxnSpMkLst>
            <pc:docMk/>
            <pc:sldMk cId="2044495427" sldId="263"/>
            <ac:cxnSpMk id="1045" creationId="{665C128B-6A84-4945-9F83-696DCDF43D87}"/>
          </ac:cxnSpMkLst>
        </pc:cxnChg>
      </pc:sldChg>
      <pc:sldMasterChg chg="del delSldLayout">
        <pc:chgData name="Jonnavittula, Ambareesh" userId="f197d401-430a-41cd-858d-78eb301305a2" providerId="ADAL" clId="{C6F363FD-B43B-4D84-9BE1-8F025180C314}" dt="2022-04-13T13:13:02.033" v="166" actId="2696"/>
        <pc:sldMasterMkLst>
          <pc:docMk/>
          <pc:sldMasterMk cId="3086246180" sldId="2147483678"/>
        </pc:sldMasterMkLst>
        <pc:sldLayoutChg chg="del">
          <pc:chgData name="Jonnavittula, Ambareesh" userId="f197d401-430a-41cd-858d-78eb301305a2" providerId="ADAL" clId="{C6F363FD-B43B-4D84-9BE1-8F025180C314}" dt="2022-04-13T13:13:02.033" v="155" actId="2696"/>
          <pc:sldLayoutMkLst>
            <pc:docMk/>
            <pc:sldMasterMk cId="3086246180" sldId="2147483678"/>
            <pc:sldLayoutMk cId="403850730" sldId="2147483679"/>
          </pc:sldLayoutMkLst>
        </pc:sldLayoutChg>
        <pc:sldLayoutChg chg="del">
          <pc:chgData name="Jonnavittula, Ambareesh" userId="f197d401-430a-41cd-858d-78eb301305a2" providerId="ADAL" clId="{C6F363FD-B43B-4D84-9BE1-8F025180C314}" dt="2022-04-13T13:13:02.033" v="156" actId="2696"/>
          <pc:sldLayoutMkLst>
            <pc:docMk/>
            <pc:sldMasterMk cId="3086246180" sldId="2147483678"/>
            <pc:sldLayoutMk cId="230603236" sldId="2147483680"/>
          </pc:sldLayoutMkLst>
        </pc:sldLayoutChg>
        <pc:sldLayoutChg chg="del">
          <pc:chgData name="Jonnavittula, Ambareesh" userId="f197d401-430a-41cd-858d-78eb301305a2" providerId="ADAL" clId="{C6F363FD-B43B-4D84-9BE1-8F025180C314}" dt="2022-04-13T13:13:02.033" v="157" actId="2696"/>
          <pc:sldLayoutMkLst>
            <pc:docMk/>
            <pc:sldMasterMk cId="3086246180" sldId="2147483678"/>
            <pc:sldLayoutMk cId="2435453537" sldId="2147483681"/>
          </pc:sldLayoutMkLst>
        </pc:sldLayoutChg>
        <pc:sldLayoutChg chg="del">
          <pc:chgData name="Jonnavittula, Ambareesh" userId="f197d401-430a-41cd-858d-78eb301305a2" providerId="ADAL" clId="{C6F363FD-B43B-4D84-9BE1-8F025180C314}" dt="2022-04-13T13:13:02.033" v="158" actId="2696"/>
          <pc:sldLayoutMkLst>
            <pc:docMk/>
            <pc:sldMasterMk cId="3086246180" sldId="2147483678"/>
            <pc:sldLayoutMk cId="949792745" sldId="2147483682"/>
          </pc:sldLayoutMkLst>
        </pc:sldLayoutChg>
        <pc:sldLayoutChg chg="del">
          <pc:chgData name="Jonnavittula, Ambareesh" userId="f197d401-430a-41cd-858d-78eb301305a2" providerId="ADAL" clId="{C6F363FD-B43B-4D84-9BE1-8F025180C314}" dt="2022-04-13T13:13:02.033" v="159" actId="2696"/>
          <pc:sldLayoutMkLst>
            <pc:docMk/>
            <pc:sldMasterMk cId="3086246180" sldId="2147483678"/>
            <pc:sldLayoutMk cId="746541385" sldId="2147483683"/>
          </pc:sldLayoutMkLst>
        </pc:sldLayoutChg>
        <pc:sldLayoutChg chg="del">
          <pc:chgData name="Jonnavittula, Ambareesh" userId="f197d401-430a-41cd-858d-78eb301305a2" providerId="ADAL" clId="{C6F363FD-B43B-4D84-9BE1-8F025180C314}" dt="2022-04-13T13:13:02.033" v="160" actId="2696"/>
          <pc:sldLayoutMkLst>
            <pc:docMk/>
            <pc:sldMasterMk cId="3086246180" sldId="2147483678"/>
            <pc:sldLayoutMk cId="616568574" sldId="2147483684"/>
          </pc:sldLayoutMkLst>
        </pc:sldLayoutChg>
        <pc:sldLayoutChg chg="del">
          <pc:chgData name="Jonnavittula, Ambareesh" userId="f197d401-430a-41cd-858d-78eb301305a2" providerId="ADAL" clId="{C6F363FD-B43B-4D84-9BE1-8F025180C314}" dt="2022-04-13T13:13:02.033" v="161" actId="2696"/>
          <pc:sldLayoutMkLst>
            <pc:docMk/>
            <pc:sldMasterMk cId="3086246180" sldId="2147483678"/>
            <pc:sldLayoutMk cId="1670209478" sldId="2147483685"/>
          </pc:sldLayoutMkLst>
        </pc:sldLayoutChg>
        <pc:sldLayoutChg chg="del">
          <pc:chgData name="Jonnavittula, Ambareesh" userId="f197d401-430a-41cd-858d-78eb301305a2" providerId="ADAL" clId="{C6F363FD-B43B-4D84-9BE1-8F025180C314}" dt="2022-04-13T13:13:02.033" v="162" actId="2696"/>
          <pc:sldLayoutMkLst>
            <pc:docMk/>
            <pc:sldMasterMk cId="3086246180" sldId="2147483678"/>
            <pc:sldLayoutMk cId="3258137430" sldId="2147483686"/>
          </pc:sldLayoutMkLst>
        </pc:sldLayoutChg>
        <pc:sldLayoutChg chg="del">
          <pc:chgData name="Jonnavittula, Ambareesh" userId="f197d401-430a-41cd-858d-78eb301305a2" providerId="ADAL" clId="{C6F363FD-B43B-4D84-9BE1-8F025180C314}" dt="2022-04-13T13:13:02.033" v="163" actId="2696"/>
          <pc:sldLayoutMkLst>
            <pc:docMk/>
            <pc:sldMasterMk cId="3086246180" sldId="2147483678"/>
            <pc:sldLayoutMk cId="3126307638" sldId="2147483687"/>
          </pc:sldLayoutMkLst>
        </pc:sldLayoutChg>
        <pc:sldLayoutChg chg="del">
          <pc:chgData name="Jonnavittula, Ambareesh" userId="f197d401-430a-41cd-858d-78eb301305a2" providerId="ADAL" clId="{C6F363FD-B43B-4D84-9BE1-8F025180C314}" dt="2022-04-13T13:13:02.033" v="164" actId="2696"/>
          <pc:sldLayoutMkLst>
            <pc:docMk/>
            <pc:sldMasterMk cId="3086246180" sldId="2147483678"/>
            <pc:sldLayoutMk cId="231519859" sldId="2147483688"/>
          </pc:sldLayoutMkLst>
        </pc:sldLayoutChg>
        <pc:sldLayoutChg chg="del">
          <pc:chgData name="Jonnavittula, Ambareesh" userId="f197d401-430a-41cd-858d-78eb301305a2" providerId="ADAL" clId="{C6F363FD-B43B-4D84-9BE1-8F025180C314}" dt="2022-04-13T13:13:02.033" v="165" actId="2696"/>
          <pc:sldLayoutMkLst>
            <pc:docMk/>
            <pc:sldMasterMk cId="3086246180" sldId="2147483678"/>
            <pc:sldLayoutMk cId="1191513790" sldId="2147483689"/>
          </pc:sldLayoutMkLst>
        </pc:sldLayoutChg>
      </pc:sldMasterChg>
      <pc:sldMasterChg chg="delSldLayout">
        <pc:chgData name="Jonnavittula, Ambareesh" userId="f197d401-430a-41cd-858d-78eb301305a2" providerId="ADAL" clId="{C6F363FD-B43B-4D84-9BE1-8F025180C314}" dt="2022-04-16T15:07:59.159" v="7785" actId="2696"/>
        <pc:sldMasterMkLst>
          <pc:docMk/>
          <pc:sldMasterMk cId="4264812927" sldId="2147483698"/>
        </pc:sldMasterMkLst>
        <pc:sldLayoutChg chg="del">
          <pc:chgData name="Jonnavittula, Ambareesh" userId="f197d401-430a-41cd-858d-78eb301305a2" providerId="ADAL" clId="{C6F363FD-B43B-4D84-9BE1-8F025180C314}" dt="2022-04-16T15:07:59.159" v="7785" actId="2696"/>
          <pc:sldLayoutMkLst>
            <pc:docMk/>
            <pc:sldMasterMk cId="4264812927" sldId="2147483698"/>
            <pc:sldLayoutMk cId="851741820" sldId="2147483703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AF3601-4E61-4C8D-A834-C0AB7004F4AB}" type="datetimeFigureOut">
              <a:rPr lang="en-GB" smtClean="0"/>
              <a:t>26/04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340CAA-2682-4F69-8AEC-E6753A8522C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30891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solidFill>
          <a:srgbClr val="009F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743EC78-88E8-451A-854F-761A6A1D0151}"/>
              </a:ext>
            </a:extLst>
          </p:cNvPr>
          <p:cNvSpPr/>
          <p:nvPr userDrawn="1"/>
        </p:nvSpPr>
        <p:spPr>
          <a:xfrm>
            <a:off x="4" y="0"/>
            <a:ext cx="9078065" cy="4430812"/>
          </a:xfrm>
          <a:custGeom>
            <a:avLst/>
            <a:gdLst>
              <a:gd name="connsiteX0" fmla="*/ 0 w 9078065"/>
              <a:gd name="connsiteY0" fmla="*/ 0 h 4430812"/>
              <a:gd name="connsiteX1" fmla="*/ 9078065 w 9078065"/>
              <a:gd name="connsiteY1" fmla="*/ 0 h 4430812"/>
              <a:gd name="connsiteX2" fmla="*/ 8614924 w 9078065"/>
              <a:gd name="connsiteY2" fmla="*/ 3393971 h 4430812"/>
              <a:gd name="connsiteX3" fmla="*/ 0 w 9078065"/>
              <a:gd name="connsiteY3" fmla="*/ 4430812 h 4430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78065" h="4430812">
                <a:moveTo>
                  <a:pt x="0" y="0"/>
                </a:moveTo>
                <a:lnTo>
                  <a:pt x="9078065" y="0"/>
                </a:lnTo>
                <a:lnTo>
                  <a:pt x="8614924" y="3393971"/>
                </a:lnTo>
                <a:lnTo>
                  <a:pt x="0" y="4430812"/>
                </a:lnTo>
                <a:close/>
              </a:path>
            </a:pathLst>
          </a:custGeom>
          <a:solidFill>
            <a:srgbClr val="008C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GB" sz="1800"/>
              <a:t>           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2F39166A-4ED9-47E3-A08F-F204B210E7B7}"/>
              </a:ext>
            </a:extLst>
          </p:cNvPr>
          <p:cNvSpPr/>
          <p:nvPr userDrawn="1"/>
        </p:nvSpPr>
        <p:spPr>
          <a:xfrm>
            <a:off x="0" y="-3445"/>
            <a:ext cx="12182984" cy="1633217"/>
          </a:xfrm>
          <a:custGeom>
            <a:avLst/>
            <a:gdLst>
              <a:gd name="connsiteX0" fmla="*/ 0 w 12182984"/>
              <a:gd name="connsiteY0" fmla="*/ 0 h 1633217"/>
              <a:gd name="connsiteX1" fmla="*/ 12182984 w 12182984"/>
              <a:gd name="connsiteY1" fmla="*/ 0 h 1633217"/>
              <a:gd name="connsiteX2" fmla="*/ 12182984 w 12182984"/>
              <a:gd name="connsiteY2" fmla="*/ 851811 h 1633217"/>
              <a:gd name="connsiteX3" fmla="*/ 0 w 12182984"/>
              <a:gd name="connsiteY3" fmla="*/ 1633217 h 163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2984" h="1633217">
                <a:moveTo>
                  <a:pt x="0" y="0"/>
                </a:moveTo>
                <a:lnTo>
                  <a:pt x="12182984" y="0"/>
                </a:lnTo>
                <a:lnTo>
                  <a:pt x="12182984" y="851811"/>
                </a:lnTo>
                <a:lnTo>
                  <a:pt x="0" y="163321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D73EC22-356F-46D4-8F83-97C16950632C}"/>
              </a:ext>
            </a:extLst>
          </p:cNvPr>
          <p:cNvSpPr/>
          <p:nvPr userDrawn="1"/>
        </p:nvSpPr>
        <p:spPr>
          <a:xfrm>
            <a:off x="8103039" y="2952212"/>
            <a:ext cx="4086532" cy="3905788"/>
          </a:xfrm>
          <a:custGeom>
            <a:avLst/>
            <a:gdLst>
              <a:gd name="connsiteX0" fmla="*/ 4079474 w 4086532"/>
              <a:gd name="connsiteY0" fmla="*/ 0 h 3905788"/>
              <a:gd name="connsiteX1" fmla="*/ 4086030 w 4086532"/>
              <a:gd name="connsiteY1" fmla="*/ 3694368 h 3905788"/>
              <a:gd name="connsiteX2" fmla="*/ 4086532 w 4086532"/>
              <a:gd name="connsiteY2" fmla="*/ 3905788 h 3905788"/>
              <a:gd name="connsiteX3" fmla="*/ 0 w 4086532"/>
              <a:gd name="connsiteY3" fmla="*/ 3905788 h 3905788"/>
              <a:gd name="connsiteX4" fmla="*/ 510083 w 4086532"/>
              <a:gd name="connsiteY4" fmla="*/ 443323 h 390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6532" h="3905788">
                <a:moveTo>
                  <a:pt x="4079474" y="0"/>
                </a:moveTo>
                <a:cubicBezTo>
                  <a:pt x="4083337" y="1242406"/>
                  <a:pt x="4083845" y="2462912"/>
                  <a:pt x="4086030" y="3694368"/>
                </a:cubicBezTo>
                <a:lnTo>
                  <a:pt x="4086532" y="3905788"/>
                </a:lnTo>
                <a:lnTo>
                  <a:pt x="0" y="3905788"/>
                </a:lnTo>
                <a:lnTo>
                  <a:pt x="510083" y="443323"/>
                </a:lnTo>
                <a:close/>
              </a:path>
            </a:pathLst>
          </a:custGeom>
          <a:solidFill>
            <a:srgbClr val="5BB6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GB" sz="1800"/>
              <a:t> 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562927" y="2007605"/>
            <a:ext cx="8505915" cy="187636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lnSpc>
                <a:spcPct val="100000"/>
              </a:lnSpc>
              <a:defRPr sz="3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Add your main        </a:t>
            </a:r>
            <a:br>
              <a:rPr lang="en-US"/>
            </a:br>
            <a:r>
              <a:rPr lang="en-US"/>
              <a:t>Keep text within the shape.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62927" y="4622539"/>
            <a:ext cx="8505915" cy="139555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You can add sub-header</a:t>
            </a:r>
          </a:p>
          <a:p>
            <a:r>
              <a:rPr lang="en-US"/>
              <a:t>information here.</a:t>
            </a:r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24F8153-4C69-4DE2-80DA-9CA1D58862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0" t="15448" r="7590" b="15448"/>
          <a:stretch/>
        </p:blipFill>
        <p:spPr>
          <a:xfrm>
            <a:off x="319318" y="367292"/>
            <a:ext cx="2677791" cy="924208"/>
          </a:xfrm>
          <a:prstGeom prst="rect">
            <a:avLst/>
          </a:prstGeom>
        </p:spPr>
      </p:pic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D67894DC-124B-4273-99C9-5A16A90A4EAA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562929" y="6018096"/>
            <a:ext cx="851514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0298781"/>
      </p:ext>
    </p:extLst>
  </p:cSld>
  <p:clrMapOvr>
    <a:masterClrMapping/>
  </p:clrMapOvr>
  <p:transition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0863" y="365126"/>
            <a:ext cx="11090275" cy="94238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0863" y="1457934"/>
            <a:ext cx="11090275" cy="449201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B5204B-0926-4447-8D51-60EB80507D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9F5221-8F83-417D-946C-8FCE677852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1429833"/>
      </p:ext>
    </p:extLst>
  </p:cSld>
  <p:clrMapOvr>
    <a:masterClrMapping/>
  </p:clrMapOvr>
  <p:transition spd="slow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0863" y="365126"/>
            <a:ext cx="11090275" cy="94238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0863" y="1457934"/>
            <a:ext cx="5292095" cy="449201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49042" y="1457934"/>
            <a:ext cx="5292095" cy="449201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0B1606-6802-42CA-AAF4-CC55EF3657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9F5221-8F83-417D-946C-8FCE677852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8516525"/>
      </p:ext>
    </p:extLst>
  </p:cSld>
  <p:clrMapOvr>
    <a:masterClrMapping/>
  </p:clrMapOvr>
  <p:transition spd="slow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0863" y="365126"/>
            <a:ext cx="11090275" cy="94238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C14E26-CEBA-4843-B304-66C33E224A4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9F5221-8F83-417D-946C-8FCE677852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2127060"/>
      </p:ext>
    </p:extLst>
  </p:cSld>
  <p:clrMapOvr>
    <a:masterClrMapping/>
  </p:clrMapOvr>
  <p:transition spd="slow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3A9923-3550-472C-9504-40F89AE0932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9F5221-8F83-417D-946C-8FCE677852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0415487"/>
      </p:ext>
    </p:extLst>
  </p:cSld>
  <p:clrMapOvr>
    <a:masterClrMapping/>
  </p:clrMapOvr>
  <p:transition spd="slow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914161" y="1687278"/>
            <a:ext cx="10365027" cy="4256322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10"/>
          </p:nvPr>
        </p:nvSpPr>
        <p:spPr bwMode="gray">
          <a:xfrm>
            <a:off x="1244265" y="953332"/>
            <a:ext cx="10034923" cy="26161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228594" indent="-228594">
              <a:lnSpc>
                <a:spcPct val="85000"/>
              </a:lnSpc>
              <a:buClr>
                <a:schemeClr val="tx2">
                  <a:lumMod val="60000"/>
                  <a:lumOff val="40000"/>
                </a:schemeClr>
              </a:buClr>
              <a:buFont typeface="Tahoma" panose="020B0604030504040204" pitchFamily="34" charset="0"/>
              <a:buChar char="˃"/>
              <a:defRPr sz="1800" b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7121" y="536912"/>
            <a:ext cx="10042068" cy="366254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009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4B2DFCE-F0CD-4680-825B-E531E78843D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2959" y="5805916"/>
            <a:ext cx="2294438" cy="97200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0863" y="365126"/>
            <a:ext cx="11090275" cy="9423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0863" y="1457934"/>
            <a:ext cx="11090275" cy="44770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BD7A77-FEE0-4A18-8D93-23192727F4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0863" y="6412794"/>
            <a:ext cx="427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9F5221-8F83-417D-946C-8FCE677852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8174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002E5F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55576" indent="-255576" algn="l" defTabSz="914354" rtl="0" eaLnBrk="1" latinLnBrk="0" hangingPunct="1">
        <a:lnSpc>
          <a:spcPct val="100000"/>
        </a:lnSpc>
        <a:spcBef>
          <a:spcPts val="1000"/>
        </a:spcBef>
        <a:buClr>
          <a:srgbClr val="008BCB"/>
        </a:buClr>
        <a:buFont typeface="Wingdings" panose="05000000000000000000" pitchFamily="2" charset="2"/>
        <a:buChar char="§"/>
        <a:defRPr sz="2400" kern="1200">
          <a:solidFill>
            <a:srgbClr val="4A4A4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25438" indent="-249226" algn="l" defTabSz="914354" rtl="0" eaLnBrk="1" latinLnBrk="0" hangingPunct="1">
        <a:lnSpc>
          <a:spcPct val="100000"/>
        </a:lnSpc>
        <a:spcBef>
          <a:spcPts val="500"/>
        </a:spcBef>
        <a:buClr>
          <a:srgbClr val="008BCB"/>
        </a:buClr>
        <a:buFont typeface="Arial" panose="020B0604020202020204" pitchFamily="34" charset="0"/>
        <a:buChar char="−"/>
        <a:defRPr sz="2000" kern="1200">
          <a:solidFill>
            <a:srgbClr val="4A4A4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90528" indent="-165092" algn="l" defTabSz="914354" rtl="0" eaLnBrk="1" latinLnBrk="0" hangingPunct="1">
        <a:lnSpc>
          <a:spcPct val="100000"/>
        </a:lnSpc>
        <a:spcBef>
          <a:spcPts val="500"/>
        </a:spcBef>
        <a:buClr>
          <a:srgbClr val="008BCB"/>
        </a:buClr>
        <a:buFont typeface="Arial" panose="020B0604020202020204" pitchFamily="34" charset="0"/>
        <a:buChar char="•"/>
        <a:defRPr sz="1800" kern="1200">
          <a:solidFill>
            <a:srgbClr val="4A4A4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28634" indent="-138107" algn="l" defTabSz="914354" rtl="0" eaLnBrk="1" latinLnBrk="0" hangingPunct="1">
        <a:lnSpc>
          <a:spcPct val="90000"/>
        </a:lnSpc>
        <a:spcBef>
          <a:spcPts val="500"/>
        </a:spcBef>
        <a:buClr>
          <a:srgbClr val="008BCB"/>
        </a:buClr>
        <a:buFont typeface="Arial" panose="020B0604020202020204" pitchFamily="34" charset="0"/>
        <a:buChar char="•"/>
        <a:defRPr sz="1600" kern="1200">
          <a:solidFill>
            <a:srgbClr val="4A4A4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82614" indent="-153980" algn="l" defTabSz="914354" rtl="0" eaLnBrk="1" latinLnBrk="0" hangingPunct="1">
        <a:lnSpc>
          <a:spcPct val="90000"/>
        </a:lnSpc>
        <a:spcBef>
          <a:spcPts val="500"/>
        </a:spcBef>
        <a:buClr>
          <a:srgbClr val="008BCB"/>
        </a:buClr>
        <a:buFont typeface="Arial" panose="020B0604020202020204" pitchFamily="34" charset="0"/>
        <a:buChar char="•"/>
        <a:defRPr sz="1600" kern="1200">
          <a:solidFill>
            <a:srgbClr val="4A4A4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4" orient="horz" pos="913">
          <p15:clr>
            <a:srgbClr val="F26B43"/>
          </p15:clr>
        </p15:guide>
        <p15:guide id="5" orient="horz" pos="3748">
          <p15:clr>
            <a:srgbClr val="F26B43"/>
          </p15:clr>
        </p15:guide>
        <p15:guide id="6" pos="347">
          <p15:clr>
            <a:srgbClr val="F26B43"/>
          </p15:clr>
        </p15:guide>
        <p15:guide id="7" pos="733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679058"/>
            <a:ext cx="10363200" cy="2581200"/>
          </a:xfrm>
        </p:spPr>
        <p:txBody>
          <a:bodyPr>
            <a:normAutofit fontScale="90000"/>
          </a:bodyPr>
          <a:lstStyle/>
          <a:p>
            <a:r>
              <a:rPr lang="en-GB" dirty="0">
                <a:latin typeface="Arial"/>
                <a:cs typeface="Arial"/>
              </a:rPr>
              <a:t>Data Science Internship - </a:t>
            </a:r>
            <a:br>
              <a:rPr lang="en-GB" dirty="0">
                <a:latin typeface="Arial"/>
                <a:cs typeface="Arial"/>
              </a:rPr>
            </a:br>
            <a:r>
              <a:rPr lang="en-GB" dirty="0">
                <a:latin typeface="Arial"/>
                <a:cs typeface="Arial"/>
              </a:rPr>
              <a:t>Nurture programme</a:t>
            </a:r>
            <a:br>
              <a:rPr lang="en-GB" sz="3600" b="0" dirty="0">
                <a:latin typeface="Arial"/>
                <a:cs typeface="Arial"/>
              </a:rPr>
            </a:br>
            <a:br>
              <a:rPr lang="en-GB" sz="3600" b="0" dirty="0">
                <a:latin typeface="Arial"/>
                <a:cs typeface="Arial"/>
              </a:rPr>
            </a:br>
            <a:r>
              <a:rPr lang="en-GB" sz="3600" b="0" dirty="0">
                <a:latin typeface="Arial"/>
                <a:cs typeface="Arial"/>
              </a:rPr>
              <a:t>Ambareesh Jonnavittula</a:t>
            </a:r>
            <a:br>
              <a:rPr lang="en-GB" sz="3600" b="0" dirty="0">
                <a:latin typeface="Arial"/>
                <a:cs typeface="Arial"/>
              </a:rPr>
            </a:br>
            <a:r>
              <a:rPr lang="en-GB" sz="3600" b="0" dirty="0">
                <a:latin typeface="Arial"/>
                <a:cs typeface="Arial"/>
              </a:rPr>
              <a:t>21-Feb-2022 to 29-Apr-202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4331690"/>
      </p:ext>
    </p:extLst>
  </p:cSld>
  <p:clrMapOvr>
    <a:masterClrMapping/>
  </p:clrMapOvr>
  <p:transition spd="slow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75C55B0-1C09-47B4-8C18-1E334630CC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7399" y="1417466"/>
            <a:ext cx="6066407" cy="132573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Weather-induced Asset failure prediction</a:t>
            </a:r>
          </a:p>
          <a:p>
            <a:pPr lvl="1">
              <a:buFont typeface="Arial" panose="020B0604020202020204" pitchFamily="34" charset="0"/>
              <a:buChar char="+"/>
            </a:pPr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Hypothesis </a:t>
            </a:r>
          </a:p>
          <a:p>
            <a:pPr lvl="1">
              <a:buFont typeface="Arial" panose="020B0604020202020204" pitchFamily="34" charset="0"/>
              <a:buChar char="+"/>
            </a:pPr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Benefi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2D32590-9556-4431-BF5A-5F38BDC49F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ject Introduction</a:t>
            </a:r>
          </a:p>
        </p:txBody>
      </p:sp>
      <p:pic>
        <p:nvPicPr>
          <p:cNvPr id="12" name="Picture 2" descr="How do you clear blocked gullies? | JDP">
            <a:extLst>
              <a:ext uri="{FF2B5EF4-FFF2-40B4-BE49-F238E27FC236}">
                <a16:creationId xmlns:a16="http://schemas.microsoft.com/office/drawing/2014/main" id="{92F6633C-A583-4DF3-8F69-451D78FE5E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5747" y="1832828"/>
            <a:ext cx="1807819" cy="132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Road Gullies | Road Gully Cleaning | Blocked Gullies | Drainage Gully -  Drainflow Ltd">
            <a:extLst>
              <a:ext uri="{FF2B5EF4-FFF2-40B4-BE49-F238E27FC236}">
                <a16:creationId xmlns:a16="http://schemas.microsoft.com/office/drawing/2014/main" id="{78D3F893-9D2D-472F-BF42-D5D996D35D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3348" y="1417466"/>
            <a:ext cx="2663301" cy="3370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Council to launch £2 million blitz on blocked gullies and overgrown verges  - Stoke-on-Trent Live">
            <a:extLst>
              <a:ext uri="{FF2B5EF4-FFF2-40B4-BE49-F238E27FC236}">
                <a16:creationId xmlns:a16="http://schemas.microsoft.com/office/drawing/2014/main" id="{91C45136-6471-4CE4-B06B-6EFCABFE64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7195" y="3268520"/>
            <a:ext cx="1806371" cy="1201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Flash floods last summer not made worse by drain issues, report finds |  Waltham Forest Echo">
            <a:extLst>
              <a:ext uri="{FF2B5EF4-FFF2-40B4-BE49-F238E27FC236}">
                <a16:creationId xmlns:a16="http://schemas.microsoft.com/office/drawing/2014/main" id="{2876759B-8F52-4A20-9252-44BAC919A3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8440" y="4579788"/>
            <a:ext cx="1806370" cy="1354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utoShape 6" descr="data:image/jpg;base64,%20/9j/4AAQSkZJRgABAQEAYABgAAD/2wBDAAUDBAQEAwUEBAQFBQUGBwwIBwcHBw8LCwkMEQ8SEhEPERETFhwXExQaFRERGCEYGh0dHx8fExciJCIeJBweHx7/2wBDAQUFBQcGBw4ICA4eFBEUHh4eHh4eHh4eHh4eHh4eHh4eHh4eHh4eHh4eHh4eHh4eHh4eHh4eHh4eHh4eHh4eHh7/wAARCAFKA0Q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82+MXxUh+HuqaLZf2RLqQvH86/dJNosbMOkbTtxzhpFGPrzQB6TRWbruv6HoVil9rWr2OnWrkKkt1OsasT0AJPNV9U8XeFtLs7S81LxFpVpbXoBtZZrtEWYHuhJ+YfSgDaorJ13xN4c0FYG1rXdN00XB/c/arlI/M/3dx5rB8WfFDwd4X8U6N4e1jVra3n1aKSaKVpkWKJFXIZyWGA3RSAckGgDtKKRSGUMpBBGQR3paACiiigAooooAKKKKACiiigAorn/AIj+Iz4Q8B614nFp9rOmWj3Ag37fM2jpnnFZfgzxB4vvLc6l4u0PRNE0o2q3CXEOqGUjIBwwZFCjB65oA7SiueTxdoup+H9T1LwzrGkau1jC7ny75PKVwpIEjjOwcdT0HNY+meN7ufxfoWh3drYRxaj4ffVp54bnzUjZWjG1H6MmHJ3ewoA7mis4a9opsbG+GrWJtb90js5vPXZcO33VQ5wxPYDrULeJ/Da6tHpDa9pg1GSVoUtTdJ5rSKASoXOcgEHHvQBr0VkWHijw3f6zNo1jr+mXOpQ5821iukaVMdcqDnirup6lp2lxRy6lfW1nHJIIkeeUIGc5IUE9+Dx7UAWqK5z/AITzwT/Zf9qf8JdoX2HzvI+0fb4/L8z+5uzjPtWlrOvaJo2mDU9X1ewsLE4xcXFwscZz0wxODmgDRorOt9d0W40Q65b6vYS6WELm8S4UwhR1O/OMfjXL6F8Q7HXfiWPDei3Gnajph0X+0Rf2twJMuJvLKfLxjHPrQB3NFZGl+KPDeq6pPpema/pl7fW+fOt4LpHkTHXKg5rXoAKKKKACiiigAoorz7xp408T2PxDtPBvhbw7p+qXU2ltqUkt5fm3VEEvl7RhGyc0Aeg0Vzcni3TdF02xPjTVNF0HUrhAXt5L9dobPRWbaWHvgVJqWvXNv4r0rS7dNNls720nuGke9Cz/ACBSvlxYzIp3csDxx60AdBRXHfDLxvB4o8G6Dq+pNZ6ff6wsxgtBNy5jdgwQHlsBcn0rem8QaFCt60usWEa2EqxXha4UC3dsbVfn5SdwwD6igDTorDPjDwmNJn1c+JNI/s+CYwS3X2xPKSQdULZxu9utaelajYarYRX+mXtve2kozHNBIHRh7EcGgCzRXnWreP8AXb3xdqXhvwJ4Xh12XR9q6pd3V8LWCGVl3CFTtYu+0gnjAyMmuh/4TDTdM0Gxv/GNxY+F7q5X57W+vYwUfPKhs4b6j1oA6SiqQ1bSy9ig1G0LagCbMCZT9owu47OfmwvPHamSa5o0a6g0mrWSLppAvi06gWxKhh5nPy8EHnsaANCisiw8T+G7/RZdbs9e0240yIkSXcdyhhQjrls4FT6Drmja/ZG90PVbLUrYMVMtrOsihvQlT1oA0KKKKACiiigAooooAKKKhv5/stjcXW3d5MTSbc9cDOKAJqK88+BPxLHxL8Ly6lc6V/Y9/A0ZlszN5mIpY1kikBwMhkb06gjtVT4b/FmDxp8QPE3h6HSvsunaPGJbfUXmBW7QSPG7hcfKoeN8HPOKAPTqKxtF8U+HNdluYdD17S9Tnth+9jtrpJCn+9tJwPes/QPGNjJ4X0/VfEmoaHpc94krqsepJLCwQnJSQ4DYABOOlAHU0VxnjH4neDvDPgSTxnNq9rfaUHEcT2c8cnnuWxtQ7gCRySM9Aa1v+Ey8Jjw/H4gbxHpSaVI21LxrtBEzdMBs4Jz2oA3aKzT4g0IabbakdZ08WV0wW3uPtCeXKSCQFbOCcA/kabo3iTw/rVhNqGka3p1/aQErNPb3KOkZHUMQcD8aANSisfQ/FPhrXRc/2Lr+maj9l/1/2a6STyv97B4pmneL/Cmo6lDpun+JNIur2aITRW8N5G8joRncFByRigDborJvfE/hyx1qHRLzXtMt9Tnx5VpLdIsz56YQnJpL7xR4bsdZh0W91/TLbUpseXaS3SLK+emFJzzQBr0VmeKJ9cttIeXw7p9nqGoBl2QXVyYIyM8kuFbHHtXnngH4ieMtfvdSm1bwzoOkaPpGpTafqV42sEmJ4lBZlBjAK/MvJI70AerUVlaH4l8Pa5ZzXmja5p2oW0BImltrlJFjOM/MQeOPWuX8c/ErSNM+Hes+KfC9/pevPpjQo8cN0HQM8qJhihOOGJ/CgDvaKpQarps2pyaVHfWzajFCs8tqsoMsaNwGK9QCehq7QAUUUUAFFFFABRRRQAUVwXxf8W+LPBmiXviDSPDmm6rpOn2T3V28+oNBKNmSVVQjA8D1FO8O+N7230VdW+ISeHvC9tcpG9k39rB/NDLk53qmCMjpnrQB3dFZV/4k8P6fosetX2uadbaZKAY7uS5RYnB6YYnBz7Vi3njOP/hNfC2j6b9kvdP122u7gXkcu4AQqhXaRwQdx/KgDr6Kp6Rqmm6vaG70q/tr63DtH5tvKHTcpwwyOMg8GvPPAvjvxx4uvZ7qw8JaTHoUGqz2ElzJqrCfbDIUZxH5eM8ZA3UAen0Vj2/inw1casukwa/pcuoO0irapdIZS0f+sG3Ocrg59MUuj+KPDes309hpOvaZf3dv/robe6SR4+3IByKANeisOXxj4Tj1K402TxNo6XtsVE9ubyMSRliAAy5yMkgfUitBNU02S4vbdL+2aaxCm7jEoLQAruG8fw5HPPagC5RWRfeJ/DljokOt3mvabb6ZOqtDdyXKLFIG5BVicHPtUj+INBTTrbUm1nT1srpgtvcG5QRysQSArZwTgH8jQBp0Vm6F4g0PXrKS90TWLDUraNikktrcLIiMOoJU8GqVp428H3cM81r4p0WeO3lSGZo72NhHI7bVViDwSxwPU0Ab9FVZtS0+HU4NMlvbdL64RpIbdpAJJFXG5lXqQMjJ96tUAFFFFABRRRQAUUUUAFFFFABRRRQAV4FNovi74heKviDqlha6E2jXkTeGbf8AtUTK/kxKfNeMKPutK7HPcoPSvfaAABwAKAPmNtUju/Afg7VfEuvyaD4y8MC803fe6W95aXMsWIpEkUL1dVQqwIY5OM1a8Y62E0/w347nSHw94vPh3YPD15o8lzaXsbPv+zphcxyFlGMHcAwyMV9I7F/ur1z070FVJGQDjpx0oA+ZvF51KL4rajrHirWovCNpq+hWK2IvNDXUIlHlnz7YORiNhISSv8WQe1XbnT9E8FyfCDVLy8uNT8O6dBfWkmpz6c+797HmEPHtLIMgqoI44r6MZVYYZQR7ilIDDBAI96AERlZFZfukZHHaloooAKKKKACiiigAooooAKKKKAOC/aHjkm+B/jGKKN5HbSpgqopLE47AVzWuaRc+C/g5fa3ZTa14mnOm24NhrE73tvGCU3P5OMnYCWwOSFxXsRAIwRkUUAfLnhiWXUPF3j+6t9ZGv283gV41vbbRTYQyOGk+RVAxIRnGeTzjtXV+E7C6uPEHge3WCRWf4cyQZZCArnyAAfQ+1e7hVAwFAGMdKAo44HHA4oA+WtI8QWV74F+E/g2C11M61ofiCxj1SBrCVRZmMuh8xiu0ZJGME5HNeheDPDaz6n8W9SsdNiTxBc6tPDZXkkeJARaR+VtYjgBmPI7k17HtXJ+UcnPSlAAzgAZ60AfLHwk0mwvJPAml6l42a11jRLmOU6MnhnyLqK4VGWRJJgMlTlsuThuDXrH7Q+l2+s6b4P0+8she2kviywFxCyFlZPnzuH931zxXp21dxbaMnqcc0EA4yM80AeIWHg/QJfjv8QWl8N2TQHw9ZrGGtB5eXWUPtGNuSFUHHPArkPCVxb6Tpnwi8ReOrO4m8O2nh65tRLNaPNHZ3paMRPIoBK/uldQxHH419P4Gc4GaQqpXaVG30xxQB8uapp32rwv4p8Rafot4fAV34x0/UDYpaOn2iyjCi6lWDAby2kAbGPmCk45rXBsPEnxN8Xaj8NtPkt/t/gWe2tL6Kza2iubsOQpQsBkrlRux274r6N7Y7UgVVxhQPoKAPmT4RabpOoax4Ghk8bFNS0Mhk0eLwz9kuIXERWSKaQDheuSeGIB5r6cpAqhiwUAnqcUtABRRRQAUUUUAFePeM/Dr+IP2jdPjbUdb0yKPwrIftGm3LQMW+1D5S4HI74r2GjAznAz60AfPfxf1CbS/Edz4Xn1CPS7aLQUFvqV5oh1S81hmMgaAORjK4GR1JfPSovhpb3n9qfBhpoLgNF4NvUkLo2UbZAAGz0PHQ19EEAkEgEjp7UBV4+UcdOOlAHzL4YlXw34S+DfizWIbqDStLn1GC+mFu7m2MwkWNnVQSFJGM47iqOrvH4l8G/GW9t7C+ax1PX9OaFZrV4nmixApYKQGwQDz6V9UbV27dox6Y4oKqc/KOevFAHgvx20RtE8XeB76wmg8O+GLBLqKW5j0hby3tbhkQRM8OMDKqyiQj5fbNdd+z5penWGi63eaX4mfX4dR1R7l5V042cKSFFDCKPGNpwCSOCc+9emkAjBAI9KAABgAAUAeH+FPEWnfC7x7450zxp9qsLfWdYbV9Mv/ALLJLDcxyRopTcinDqykbTz0xVb4l+NUv/E+iPF5Ph3Sr/SJJ4dY1Dw493cTt5m37IsbD5CR8+Dy2RgV7wyqw+ZQfqKCAcZAODkZoA+Z/CFwfDXw9+DHibW4b2HTdIur6K+l+yOWthLHNHGzoASi5wOnGRUkT6B4os/ivf6tPq+kaPf69p81tff2dIWQpBCY5miKktFuQE7hgg84r6UKqV2lQR6Yo2jngc9eOtAHy74p1HxN4q+GlrdNHB/ZejeLoDc6tp+jMYb60RM/ajaN99VdgGHIO3I4FeifAmx0ybxV4i8Raf42XxHLeW9tDcrb6P8AYbdShfY3A2u+CQSOQMZ7V6+AAMAAD0pFVVGFUAegFAC0UUUAFFFFABRRRQAVT10E6HfgAkm2kwB/umrlFAHylbL4m8F+BPAGv+FtMupr7xT4UtfDlwiIf9Hu/LBtrhx22hpAc+1dTZ6PL4H8Z+L7HR9BOsR6V8P7OG3tGiJS9kR59yHj5ixySOp3e9fQe1cAYGB0pcDOcDPrQB80/C7UJNW+M/hy+i1qDVV/4R+9WcWWgGwgs2PkkQbsfOQQflPK496b4N0ODUtK+BtpqulfabeG41OWSKeElUYK5QsCMdcEZ719LhVHRQPwoCrx8o46cdKAPm3x5oL/APCEfGvTtM0ljCmqW13BbQ25Iz5MDytGoHU4Ynb71J8TNRtNV8V+BvF+ka0uleE47G7gTUm0Q3VvbXRKffiYDYWUMocjsRnmvo/A54HPWk2rt27Rt9McUAfOD+F9Hn8BeHbKHUz4p0vU/H0N3Of7NNrAAwO9EixgR7hnj5SWNa/iGKTwz49+KV5ofhaHUE/4RmxnXThbfuLqQGZTlFGGwoGQOSBiveNq4AwMDpx0pcDOcDPrQB80fDi8k1L4vi8g1yLW4T4Ru45JrPQjYW8T+ZERCDj94Rz15X8TU/hbwzp2n/Bz4RX1nokdtqKa/YTSzJb7ZgZGcSFmxuwQcHPGMV9HhVHRQPwo2rgDaMDpxQB4H4Vv/CGi+KvGOh+PNFkuvEWo+JXuLYSaW9w15AxT7M0TBSNqAeo24J4ri9V0eObU/HHhrxh4z/4R+41TXbmYQSeG/tM9zAzg28kNwAWbCBAMfcK4r6w2rkNtGR0OKCqkhioJHQ46UAQ6fGYbC3haV5ikSqZHGGfA6n3NeBRX+o6D8NPiZf2+gxalJ/wmdwfKu7Rp4kjZoAZzGBmRUGXwOu2voSkwADwOaAPmPwnHpus+IPiH/a2vXesaHe+F4IbnUtO0NrION8obykUHzCoP3gD6dqi1nVtQ1b4MeOtBtZLTW7Cwh09LLXbHSmtTdEzpmNo8YZ4woJK/L83QHNfUIVV+6oH0FG1du3aNvpjigDyX4Ewv4f17xH4V8Q2jt4rNwb6fV3Qn+2bdziOYN0XaPkMY4XHAwa9bpMDO7Az60tABRRRQAUUUUAFFFFAHCftCRyTfA7xpFDG8kjaNchURSSTsPAA61w3xG1y40uTwVp8z2Oh2c2jF21260Y37RyKsYFqi4wrODnnrtwK90IBGCMikKqQAVBA9qAPlzw5a6bH8FvCF9q3iCfw/qGm61qU+mXV3ozSW5YzSqUmgxiMMjfKOCP4at+NYPGXj7R/AUmm2f9gazd6TquYIYmhikUbP3eThoVmUcHhlD19MFVIwVBHpilwM5wM0Acl8INU0XVfh/pr6FpLaLbWyG1fTWiMbWcsfyvER3IPfv17159+z34SaTT9R1ubWfElo6eJdRcWKXrR2rgXD4zFjBB/WvbgAM4AGaAAOgAoA+fvDvhW4ufhb8V59C0oJ4lv9a1lLecR7Z3O5lUIx5GVJAxxz71mfCTTtL1TxL4Okh8dh9S0W2kEWkweGvsUkWYdjxTuBwAecN1IBFfSgAHQAUgVQSQoBPU460AfH93d+Frb4NaR4XvtDnXxvYeI7d9QZ9NcSwzG/XfO8xXG11IAO47twH09I1rxBY+D/AIlfE211q31FZvEFjayaSsFlJN9sK2zRMiFQQWDdQcYBzXr3jPwzpvizRf7J1Qzrb/aILgmFwrF4ZFkTnB43KM+1bZAJBwMjoaAPlV7TUtP0T4R6tqGqNoOkWvhc2xvZ9I+3RWt2yx4Dxn/VlkDAOfQjvWyfCujS+BfCthBqR8U6VqPj+K7nZtNNtBhw5dVixgRbhn+6cmvpAqpXaVBHpjijauAMDA6cdKAPnf4i+HtR/t/4u6b4R02WCa98Mae8cNmnliZw0ocLjA3mNdvHPSt60tvhx8S/Aep+GPCemrbXp0RYfPTTHtzaspBjjZ2QfOsiqdvJGCa9rwM5wM+tNeMNG6KSm4H5l4IJ7/WgDxP9njUNR8eeINQ+IWsW0kEllYQ+H7eOUcrNF814w+suBn0Svbqw/AvhfS/Bvhm30DSPPa2hZ3Mk775ZXdy7u7YGWLMSeK3KACiiigAooooAKKKKACjvRRQAUUUUAFFFFABRRRQAUUUUAFFFFABRRRQAUUUUAFFFFABRRRQAUUUUAFFFFABRRRQAUUUUAFFFFABRRRQAUUUUAFFFFABRRRQAUUUUAFFFFABRRWN4k8R2Oi+XAyyXd/PkW1lAN0sp9cfwr6scAU0gbNS7uLe0t3uLqeKCFBl5JGCqo9yelSRusiB0YMrDKsDkEetcRFot5rNwmoeLGiuCpDQaah3W1ufU5/1r/wC0eB2FJHY6p4YkM3h1TeaZnMmku+NnPJgY/d/3Dwe2KwWJoufJza/gVyTS5rHc0Vm+H9c07XbM3GnzFtjbJYnXbJC/dXU8qfrWlW7TW5NwooopAFFFFABRRRQAUUUUAFFFFABRRRQAUUUUAFFFNkdY42kkYKigszE4AA70AOrNvPEGhWUhjvNa063cdVluUUj8Ca42e5vvGTNcSXFxZ+HiSLe3iYxyXq/89JGHIQ9lGMjk+lXrHRdHsYhFZ6XZQIOgWFf54yaUpwg7PcydR9Dc/wCEs8Lf9DJo/wD4Gx/40f8ACWeFv+hk0f8A8DY/8azPsdn/AM+lv/36X/Cj7HZ/8+lv/wB+l/wqfbQ7MXPI0/8AhLPC3/QyaP8A+Bsf+NH/AAlnhb/oZNH/APA2P/Gsz7HZ/wDPpb/9+l/wo+x2f/Ppb/8Afpf8KPbQ7MOeRp/8JZ4W/wChk0f/AMDY/wDGj/hLPC3/AEMmj/8AgbH/AI1mfY7P/n0t/wDv0v8AhR9js/8An0t/+/S/4Ue2h2Yc8jT/AOEs8Lf9DJo//gbH/jR/wlnhb/oZNH/8DY/8azPsdn/z6W//AH6X/Cj7HZ/8+lv/AN+l/wAKPbQ7MOeR0Gn6vpWoNtsNTsrs4ziGdXP6GrtcJqHh7RL/AAbjTLcSKcpLGvlyIfVXXBB/GpdB1bUNE1W30fWrp76xu28uxv5MeYknUQynuSM7W74weetxlGfw7jVTXU7aiiig1CiiigAooooAKKKKACiiigAooooAKKKKACiiigAooooAKKKKACiiigAooooAKKKKACiiigAooooAKKKKACiiigAooooAKKKKACiiigAooooAKKKKACiiigAooooAKKKKACiiigAooooAKKKKACiiigAooooAKKKKACiiigAooooAKKKKACiiigAoJwM1R1vVtP0Wwe+1K5S3hXgE8lmPRVA5Zj2A5rlJ49X8V5OprNpWiH7tirbbi6X1mYfcX/YHPqe1TOcaceabsgSbdkWtS8TXeqXEmm+E1jlKMUuNTkGbeA9wn/PV/YcDue1S6FolppRlmVpbm+uMG5vJzummI9T2HoowB6VoWtvBa28dtbQxwwxqFSNFCqo9ABUleTiMXKr7q0j/AFudVOio6vcKKKK5DYxtZ0Jbq7XVNOuX03V41CpdxDO9Qc7JF6OvseR2IqxofihmvU0fxDbppuqNkRENmC6A7xOe/wDsH5h79a0aq6rp9lqlk9lqFulxA/VWHQ9iD1BHqORXdh8a4LlnqvxX9djCpRvrHc6CiuJg1DV/Cnyag1xrGhjpcgb7q0Ho4HMiD+8PmHcHrXX2N5a31nFeWVxFcW8q7o5I2DKw9iK9SLUlzRd0c2qdmT0UUUwCiiigAooooAKKKKACiiigAooooAK5b4nsz+GBp6O0f9o3UNmzKcEI7jfj/gIYfjXU1ynxL/49NE/7DNv/ACaqi7O5E/hY9I0jjWONQiKAqqOgA6ClFLRXAZBRRRQAUUUUAFFFFABRRRQAVl+LLNb7w5fwY+cQtJE3dZE+ZGHuGANalQah/wAeFz/1xf8A9BNXTbU00J7G74av/wC1PD2nan3urWOY49WUE1oVznwv/wCSc+Hf+wdB/wCgCujrrluzoWwUUUUhhRRRQAUUUUAFFFFABRRRQAUUVHdXFvaW0lzdTRwQRKXkkkYKqKOpJPAFAElcZ4x8dR6dqDeH/Dtn/bniMpu+yo+2K1U9HuJOka+3LHsO9Yl94o1vxwzWvhCWXSfD5ysuutHia5GeVtUYcA/89WGP7oPWtbw5oWl+HtP+w6TaiGIsZJGLFpJnPV3c8ux7kmgDKsfGPiPwpJt+IAtr3S5SCNa0+ApHasx+5PFyVQZwJBkY+9jrXpNtNDcwR3FvNHNDIoZJI2DKwPQgjgiucZVZSrKGUjBBGQR6GuRi0nWvBc733ghFutMZi9z4fmk2x8nJa2c/6puvyH5D/s9aAPVaKw/B3irR/FVi9xpkzrNC3l3VpOhjuLaTukiHlT+h6gkVuUAFFFFABRRRQAUUUUAFFFFABRRRQAUUUUAFFFFABRRRQAUUUUAFFFFABRRRQAUUUUAFFFFABRRRQAUUUUAFFFFABRRRQAUUUUAFFFFABRRRQAUUUUAFFFFABRRRQAUUUy4mit4XmnkSKJAWd3bCqPUk0APrnfEXidLK6/srSrY6nrDLkW6NhIR/elfoi/qewrMuda1TxOTB4deTT9KyRJqjJiSYdxAp7f8ATQ8egPWtLRdKsNHtDbWMHlqzF5GJLPIx6s7HlifU1z18TCjpu/63/wAi4U3P0KGmaHJ/aA1jXboanqoz5blcQ2wPVYk/h/3jlj69q3KKK8epVlUlzSZ1xgoqyCiiioKCiiigAooooAK5+40a80q8k1TwtJHBLIS9xp8hxbXR9f8Apm/+0OPUGugorWjXnRd4sicFNakfhvxHZ60ZLfy5LPUYP+Piyn4ljPr/ALS+jDINbVctrui2mrCKSRpLe8gyba7gbbNCfVT6eoOQe4qGw8SXmkTx6d4s8tA7BLfVI12wTHsJB/yyf6/Kex7V7NCvCv8ADo+3+RyTg4b7HX0UAggEcg0VqSFFFFABRRRQAUUUUAFFFFABXKfEv/j00T/sM2/8mrq65T4l/wDHpon/AGGbf+TU0RU+FktFFFcJkFIzKqszsqqoyWY4AHqTS14h+1LLcalqXgLwNJqE1ho/iPWPJ1OSJ9hkjXbiMt2BJ/lTSuxpXPX5Nc0WPT59Rk1jT1srf/XXH2lPLj/3mzgfjV2GSOaFJoZFkjdQyOpyGB6EHuK8F+OPwy8F+B/gl401Dwto/wDZclxpsdvMkcrlHUTIQSpJ+b3rG8X/ABi8QaFfaN4M8M3Wj6U1l4ftbq6vdSs57kSu0SlYkSJWI4x8x4qlG+w7XPpaivANR+Lviq++GPhjxHa6l4Z8KX2omdLyPVreeV3eNto8iFFLsDySccZFZifHLxlc/A+z8WWdppL64vidNFmHlMLe4U5+ZVPKZ469PSjkYcrPpKisTwTH4oj8Owr4yuNMuNY3MZn09GSHaT8oAbnIGAT3rbqCQqvqP/IPuf8Ari//AKCasVX1H/kH3P8A1xf/ANBNVD4kJ7Fv4Yf8k58O/wDYOg/9AFdHXOfDD/knPh3/ALB0H/oAro67Z/EzojsgoooqRhRRRQAUUUUAFFFFABRRXD+L/Gl5HrE3hbwjYrf65GiNdTT5W009XGVaVurMRyI15Pcgc0AbXjLxZo/hW0il1KSSS4uG8u0srdPMuLp/7saDk+54A7kVxD6PrPjG6j1HxyqQ2CMHtfD0Um+FCDlXuGH+uf8A2fuD0J5q/wCGvDEGl3kur393Nq+vXC7bjUrkDeVznZGo4jjHZF/HJ5roKAEACgKoAAGAAMACloooAKKKKAOe8SeGItSvY9Z0y8l0bX4F2walbqCxXOfLlU8Sxn+634EHmrvhfx1KNTh8OeMrWLSNakJW2lRibTUMd4XPRvWNvmHbcOa1Kpa5pOm65pkumatZxXlpKPnjkGRnsR3BHYjkUAdnRXllvrevfD2Nv7Ylu9f8KRgn7aRvvdOT/pqOs0Y/vj5wOoPWvTrS4gu7SG6tpVlgmRZI3U5DKRkEfUUAS0UUUAFFFFABRRRQAUUUUAFFFFABRRRQAUUUUAFFFFABRRRQAUUUUAFFFFABRRRQAUUUUAFFFFABRRRQAUUUUAFFFFABRRRQAUUUUAFFFFABRRWR4l8T+HfDVq114g1zTtLhA3Frq4WPj2yeaANeivnnxx+138LdCEsWjNf+IrlMhRaw+XET/vvjj3ANeNav+1L8Y/HUzad8PfCa2JclQ1naveTjP+0RtB/4DQB9peLfE2keGLBbrVbkRmQ7YYgR5kzeij+Z6Dua43w/eWnxBabUL3VtP1CytJ/L/suxuVmghkGCPOdeJHxg4+6PfrXyvB+z7+0F8ULyHUPH2uNZR4JVtTvDI8YPULEmQv04r3H4G/DZfgONT03VNWub6w1WaNo9Q8sLbRuoIw45MbHOMklTgcis6/P7N+z3/H5Dhy83vbHtYAAAUAAcADtS0gIZQykEEZBHQilrwDvCsP4g6ldaP4D1/VrF1S7stNuLiBmUMFdIyykg8HkdK3KwfiJp93q3gDxDpdhF5t3d6ZcQQR5A3O0bBRk8Dk1ULcyuJ7GB8JvGE2qfBHRfGviu+gjkk037Xf3JURooGdzYHA4HaqvgT41+A/GWurouk3WoRXksD3FsLyyeBbqNRlmjLD5hjmvMPDPhv4pa18DZvg/rXgM6DCujtbw6w+qRSK8yMHRWjXJAYjaTk4Gah+FPw98cQeKtDutf8G6tZXehWM0Vnqd94nF3bxS+UVXy4AMhC2OM4Aro9lD3m3+KM+aWh6X4e+PHw/1zxJZ6DbSavb3F/IYrKW702SGK5cfwozDkntV5PjJ4Jf4ey+OBcXv9mRX39nvH9mP2gXG8J5fl9c5IP0rwvRPh/wDGrUvGHg6+8WaPqtw+j67HdX17c69HNA6Bj88NuMCMAemSfSuhm+EfjBvjlLYLYJ/wrqfxEniWWYSrzOsZPlbM5/1h9MVTpUr7/iJTkekeK/jr8PPDPiCfRNSvb9p7Uot7Lb2MksNmzYwsrqMKeeR2qz4u+M3gbw14gh0O6ub+9u5IIrhv7PsnuEhik+47svABBB+hrxPxX8KPH1j4v8Z29v4X1bxJoniO/ku0ax8TLYQlX6pPEQd2On0FanxJ+H/xCHiTTG+H/gyfSNRs7GztIPENrryohjRFDRXELD96FIIBxyAOvSj2VLTX8UHNI+nAQQCOhGRS1HaiZbaJbhleYIokZRgFscke2c1JXGbBUdzBDc28lvcQxzQyKVeN1DKwPYg9akqO5nhtreS4uZo4YY13PI7BVUepJ6U1e+gnbqYEEWr+FTu0lZtU0UH5tPZt09svrCx+8v8AsH8D2rlfG37Snwu8Iawmlarf6g9w0KzHyLNnCg5+VuhVgQcqRkV1UEur+Kzt0tp9K0U/ev2XbPcj0hU/dU/3z+A71j+J/wBn/wCE/iS/W/1jwstxdCMRmUXUqswGeWwwy2Sck8mvoKXtOT978X9b+f8ATOCXLze5t/WxyQ/a7+DR63+sD66c3+NPX9rj4MH/AJimqj66dJWi/wCy18E2/wCZUkX6X83/AMVUT/sqfBVv+Zcul+l/L/8AFVQFdf2tPguf+YzqQ+unSf4U9f2sPgqf+Y9fD66dL/hSN+yd8F2/5gd+v01CT/Gom/ZI+DDf8wrVB9NRegC0v7VnwUP/ADMl0Prp03/xNPX9qj4Jt/zNE4+unz//ABNZrfsh/Bo9LHWV+mot/hSL+yD8Gwcm01th6HUT/hQBsL+1F8E2/wCZtYfWxm/+JqVf2nPgo3/M4oPrZzf/ABFYEn7IHwdZSFt9cjPquoHj8xULfsd/CMnKtr49vtw/+JoA6pf2lvgo3/M7W4+ttN/8RVLVPjN8NPGmp6BofhnxVbahqMmrQukCxSKSqhiT8ygcCubl/Y2+FLfduvEMf0u1P80qKz/Zu8DfDfxT4e8VaFfazLew6pHGqXMyNHh1YHgKD+tNEz+Fnt1FFFcJiFcn8UPAOg/ETw8uj66s8fkyie1urd9k1tKOjo1dZXLfEL4geE/AVnBc+JtUW1Nw223gRGkmmPfai8n69KavfQaOOPwShuvDmtaTrfjzxTrcmq2a2X2i9nD/AGeIOr/InTJKjJPNWfFHwa0/VNT0/WNH8T674b1e00+PT5LzTpFBuoYwAokUjBIx1rofh18SvCfj6W8g8O3dy9zZBWuLe5tXglRWztO1hyDg9K7HB9DT5pId2eVa/wDBez1W08POvjPxNa6xoSSxw6us6vcypKcuHJGPpjoKgtvgToNv4HXwmmuarJbL4gXXfPl2vKZV/gJ7g9z1r0/XNV03QtLn1TWb6DT7G3AM1xcPsSME4GT25IFWbeSO4hjmhYSRyoHjZeQykZBHsRRzMLsfRQetFSSFQX+PsNxnp5L/APoJqeoNQ/5B9z/1xf8A9BNVH4kJ7Hx9pvhT9rSbT4Ljw/q2qrpEiBrFU1SFQsJ+4AC2Rxjipz4X/bNTpqmtH/uJwH+tfYfwu/5Jx4d/7BsH/oArpK7Z/Ezojsj4W/sL9tBP+Yhrp/7frc/1pP7M/bRT/l515v8At6tj/WvuqipGfCht/wBtJP49fP8A21tj/Wkz+2kn8HiA/jan+tfdlFAHwn9q/bSX/lj4gP8A2ztTS/2p+2gn/Lp4gP8A262x/pX3XRQB8KHxB+2dH10/xAf+4fAf6U3/AISz9sqPrpmvH/uEwn/2Wvu2igD4RPjr9sWPrpOun/uCRH/2SvSf2etV+J8nimXVfijDdWtzr2+yijubNbYmS2QSIwUAA5R5Bn/YxX1LXD/G2xaXwQ+tQRs13oFxHq0G37xEJzIo+sZkH40AaVFRWtxDd2sN3bOJIJ41kjYdGVhkH8jUtABRRWN401PVtI8O3F7oehya5qIKpBZJKI97McZZjwqjqT6CgDZory34U/EvX/EfjvXPBPizwxbaNq+lW6XBazvPtELIxGAT2bkfrXqVABRRRQByXxSzeaDbeGYZmiuPEN7FpqlfvCNjumI+kSvXqEEUcEEcEKBI41CIo6AAYArzjRUj1z4xuzR74fDOncMeguro9vcRJ/5Er0qgAooooAKKKKACiiigAooooAKKKKACiiigAooooAKKKKACiiigAooooAKKKKACiiigAooooAKKKKACiiigAooooAKKKKACiivIPH37SPwl8Hzy2lz4h/tO9jJV7bTYzMysDggtwoP1NAHr9Br4r8WftneINUuXsPh/4JVHfiKW8LTyk+ojTj9TXOp4b/at+L8bPqV3qmmaZMeVuphYQEHsI1wzD8DQB9feOfi38OfBcLt4g8W6bbyr/wAu8colmJ9NiZNeD+O/21fDNmGg8G+Gb7VZe0964t4vwUZY/pVDwP8AsT6fGEuPGvi6e6lzue306PYp9vMfJP5CvevA3wP+Fvg3ypNG8H6ebmMcXV0n2ibPrufOD9MUAfKEnxN/ag+LVwYvC2mX+l2L8A6da/Z4gPeaTk/gfwrV8M/se+OvEd62pfETxlFbSSHdII3a8uGPu7EKPzNfbyqqqFVQoHQAcCloA8P8Cfss/CTwyiPdaPLr90OTNqUu8Z9kXCj8jXsmkaVpmj2SWWk6faWFsgwsNtCsaD8FGKuUUAFMnijnheGaNJI3Uq6OMhgeoI70+igDirjQ9T8MsZ/Dqvf6V1fSmb54R3MDH/0WePQjpWjourWOsWn2qwm3qDtkRlKvE3dXU8qR6GukrnvEPhmO+u/7V0u4OmawoAFzGuVmA6JKnR1/UdjXPXwsK2uz/rf/ADLhUcPQt0Vh6Zrki366Pr1qNN1Uj5F3ZhufeJ/4v904YenetyvHqU5U5cslqdcZqSugoooqCgooooAKKKKACiiufn1i91a8k0zwrHHPJG2251CUZtrY9wP+ej/7I4HcitaNGdaVooidRQV2Tat4n0iwun09Lhb3VFZVGn2rCS4LMMjKA/KMc5bAA70un+GrzVriPUfFhjk2EPBpcbbreAg5DOf+Wr+5+Udh3r5M+N3wb+LHw18bXfxU8DeItS1tnkae7uYxi7iz94PGOJI+OwwB1HGa9N/Z8/ao0Hxibfw/458jQtfYiNLgnba3LfU/6tj6Hj0PavYoUI0Vdb9/8jknNzeux9KjgUUisGUMpBBGQR3pa2JCiiigAooooAKKKKACiiigArk/iX/x66J/2Gbf+TV1lcn8S/8Aj10T/sM2/wDJqaIn8LJqKKK4TIDXz54svLLRv2thqHimW1torjw55Xhy6v8A/j1iuR94EngHOc9+fcV9B1keKfDPh7xTp4sPEejWWq2ytuWO5iDhT6jPQ/Sqi7DTPnuX4ieMdW0H4s6Trd14abUNB0JZINU8Oh03F8nAkLZOPwwc1W1NE0P4ReFLzWvG3jrUNY8ZNbTBLfVUtgX8rPliVxthjwwyeSSBXvekfDrwLpGjX+j6X4V0u0sNRj8q9hihwJ0/uuepH41a1jwX4T1jw5a+HNU8P2F5pFoqLbWksW5IQowu3uMDiq5kVzI+RrybVdd+A/xP03U9d1m4tvDmp28likuqrdthjtaOSZRiVOc8YGQD2rovHN9e6Lo3w58F+HPFWtXuharby3V3cpr0cE8swVT5AumBVFXPC/hX0lpHgPwZpGmahpmmeGdMtLHUUCXlvHABHOoGAGXoeKrv8NvAMnhiPwzJ4S0p9HilM0do0AKJIerDuCfXNHOg5kcl+zLJ4oHhnWLLxHqa6jFa6iU0931OO+mjhKg+XLLHwWHvjrXrNZHhXwz4f8K6adN8N6PZ6VZlzI0VtHtVmIxuPqeOta9Q3dksKg1D/jwuf+uL/wDoJqeoNQ/48Ln/AK4v/wCgmnH4kS9iz8Lv+SceHf8AsGwf+gCukrm/hd/yTjw7/wBg2D/0AV0lds/iZ0R2QUUUVIwooooAKKKKACiiigApk8Uc8EkEyB45FKOp6EEYIp9FAHlvwtaa10G58OXQIuPD97Lppz/FEp3Qt+MTJXWVzusRSaN8YhIGAs/Eem9PS6tj/NonH/fuuioAK5T4tXul2XgLUf7b0fVtX0y4C211baZGzzmNzgsApBwO5BzXV0AkdOKAPmv9mbSprL4s+IbrwdouvaV4AnslyusQlZJLoEY2FvmIA3dSf5V9KUEk9STRQAU2WSOGJ5ZWCxopZ2PYAZJp1cp8U3mm8Lf2FaTGK7125i0uFh1USnEjD6Rhz+FAGx8E7e4k8ISeILyPZda/eS6kykcrG5AhX8IlSu5qGytobOygs7dAkMEaxxqOyqMAfkKmoAKKKKACiiigAooooAKKKKACiiigArG8UeILfQI7RprS8u5LufyIYrZAzltrN3IGMKa2a474j/8AIT8Lf9hNv/SeWtKUVKVmRNtRuh//AAm5/wChV8Q/9+Y//i6P+E3P/Qq+If8AvzH/APF0UV0+yh2MueXcP+E3P/Qq+If+/Mf/AMXR/wAJuf8AoVfEP/fmP/4uiij2UOwc8u4f8Juf+hV8Q/8AfmP/AOLo/wCE3P8A0KviH/vzH/8AF0UUeyh2Dnl3D/hNz/0KviH/AL8x/wDxdH/Cbn/oVfEP/fmP/wCLooo9lDsHPLuR3Pj+G1ga4uvDevwQJy8jQR4Qepw/SuyHIrzfxz/yKOp/9cD/ADFejr90fSsa0IxSaLpybbTFooorA1CiiigAooooAKKKKACsDxb4iGkLFZWMIvdYuwRa2oOB7yOf4Yx3P4Dmjxb4iGkLFZ2UIvdXu8i1tQcfV3P8MY7n8BzWVoWkmxaa9vLg3uq3ZDXV0wwW9EUfwovQL+J5pTmqauy6dN1HZbFJNB1iVfNvPGmvfaH+aQW0kccQY9QilCQvpyad/wAI9qH/AEOnif8A8CIv/jdb9Fcn1ur3/I6/q1LsYH/CPah/0Onif/wIi/8AjdeQN+yh8O7rXL/VdU1HXb17u4efy/OSNULHJHC88k+le/UVLxNR7saw9NbI8/8ACnwq0bwhamLwlqV/pDgfK8ccByR03ny9zD2JrvfCPiKTUJZNJ1aFLTWrZcyxKfkmTtLET1U/mp4NPrM1/SI9Uiikjme0v7ZvMtLuMfPC/wDVT0KngitqWJbdqn39jKphla8Nzs6K5zwj4ik1CWTSdWiS01q2XMsSn5Jk7SxE9UP5qeDXR10tWOVMKKKKQBRRRQAUUUUAFFFFAFLW9J0/WrBrHUrVLiFiGAbgqw6MpHKkdiOa5OZtX8J/LqLT6toi/dvQu64th6SqPvqP74GR3Heu5oPPWpnCNSPLNXQJtO6MS1uILq3jubWaOeGRdySRsGVh6gipax9S8M3el3MmpeE2jhZ2L3GmSHFvcEnkr/zzf3HB7jvUmh63aaqZYVSW1voOLizuF2zRH3HcejDIPrXk4jCSpe8tV/W51U6ylo9zUooorkNgqrquo2Wl2T3moXCW8C/xN3PYAdST2A5NUNZ1xba8XS9Ntm1LV5BlLWI4EY/vyt0Rfc8nsDVnQ/C7LeprHiC4XUdUXmIAYgtPaJD3/wBo/MfbpXdh8E5+9PRfi/67mFSslpHczrfT9Y8VYk1FbjR9EOCtqDsubsf9NCP9Wh/uj5j3I6V2FhZ2thZxWdlbxW9vEoWOKNQqqB2AFT0V6kUox5YqyObd3e4V88ftB/sv+GfHouNc8KiHQPEbAu2xcW123+2o+6x/vD8Qa+h6KYHwT8O/jP8AE/4B+IU8E/ErS72/0aJgqRztulhjHG63l6On+yTj0xX2l8PPHXhfx/oEet+FdWhv7ZwN6g4khb+66HlT9ab8RvAfhb4g6BJovirSob63IPluRiSFsfeR+qmvi34hfBz4ofs++IX8a/DfVb2/0WM5eWFcyRJ12XEQ4dP9oDH0oA++KK+ev2fP2nvDPxAEGieJ/I8P+I2wqq74trpv+mbH7rH+6fwJr6FoAKKKKACiiigAooooAK5P4l/8euif9hm3/k1dZXLfFBHXwx/aCRtJ/Z11DeMqjJKI434/4CWP4VUVd2IqfCx9FNjdJI1kjYOjgMrDoQehp1cBkFFFFABRRRQAUUUUAFFFFABUGof8eFz/ANcX/wDQTU9ZXiy8Fj4cvp/4zC0cS93kf5UUe5YgVdNNySQnsa/wu/5Jx4d/7BsH/oArpKz/AA1Yf2V4e07TeP8ARbWOE49VUCtCuyTu2dC2CiiipGFFFFABRRRQAUUUUAFFFFAHB/G+18vwlB4kiDfaPDl5HqalRyY0ysy/QxM/5CtSKSOaJJoWDxuoZGHQqRkH8q6O9toL2zms7qJZYJ42jlRhwysMEH6g15X4ct/iB4f0O10JvBa6munobeK7TWIkE0aEiNtrLkHbtyD3oA7Oiuc/tDx7/wBE5P8A4PIP/iaP7Q8e/wDROT/4PIP/AImgDo6K5z+0PHv/AETk/wDg8g/+Jo/tDx7/ANE5P/g8g/8AiaAOjrmrGNNc+MdrEQXg8Nae1y/90XNzlEH1Eauf+B07+0PHv/ROT/4PIP8A4mtn4XaLqmm2Oqalr1rFa6tq+oSXU0McokEUYASKPeOGwiL07k0AdhRRRQAUUUUAFFFFABRRRQAUUUUAFFFFABXHfEf/AJCfhb/sJt/6Ty12Ncd8R/8AkJ+Fv+wm3/pPLWtD418/yM6vwj6KKK6zEKKKKACiiigAooooAxfHP/Io6n/1wP8AMV6Ov3R9K848c/8AIo6n/wBcD/MV6Ov3R9KxxHwr5/oXS+Ji0UUVym4UUUUAFFFFABWD4t8RLpCxWdnCL3V7vItbUHGfV3P8MY7n8BzW9XnvhFVn1XxHqE37y7Orz23mtywijICID2UZPHvSlJQi5MqEeeSiXtB0k2LTXt7cfbdVu8G6umGN3oij+FF7L+PWtSiivOnNzd2ejGKirIKKKKgoKKKKACiiigDM1/SE1OKKSOZ7S/tm8y0u4x88L/1U9Cp4IrQ8I+In1CSTSdWiS01q1UGaJT8ky9pYieqn81PBp9YHjSNEj0vUEGy7ttTtVhmXhlV5kR1z6MpII712Yaq21Tlt08jkxFJWc1ud/RRRXScoUUUUAFFFFABRRRQAUUUUAFY3iXw5Y60I5maW0v4Afs17bnbLCfQHuvqpyDWzRTTA4dNavNFuU0/xYsUG47YNSjG22n9mz/qn/wBknB7GkjvdU8UO0Ph5mstMyVl1Z05f1Fup+9/vngdga63W2sI9IupdUjikskiZpllUMpUDJyDwa474R+NR4qj1C3nWOGa3mLQxKMYgJ+UY9un5VgsNRUufl1/Arnm1a51fh/RNO0Oza20+ErvbfNK7FpJn7u7Hlj7mtKiit229yUrBRRRSAKKKKAChgGBVgCD1BoooA+Zv2gv2VNB8XfaNf8B+RoWunLva422ty3XoP9Wx9Rx7d68r+Fvx/wDiB8G9eHgb4saXqF7p1uwjDTjN1bJ0DIx4lj9Ofoe1fdtcf8U/ht4R+JWhNpPinS47jaD5Fynyz27H+JH6j6dD3FAGp4J8W+HfGmgw654Z1W31GxlAw8Tcof7rDqrD0NblfAPjH4b/ABa/Zr8SP4r8Falcaj4e3/vJ4kLIUz9y5i6f8CHHoRX0V+z/APtJeE/iVHDpOqNHoXiUgA2kr/urg+sTnr/unn60Ae6UUUUAFFFFABTZEWSNo5FDIwKspGQQe1OooA87mtb7waTbvb3F74eBzbzwqZJbJT/BIo5aMdmGSBwRxmrtprmi3abrfVrGQe065H4E8V29ZeoeHPD+oyGS/wBD026c9WmtUcn8SKUoQm7vcydN9DE/tDT/APoIWf8A3/X/ABo/tDT/APoIWf8A3/X/ABrQ/wCEK8H/APQq6J/4Ax/4Uf8ACFeD/wDoVdE/8AY/8Kn2MO7FySM/+0NP/wCghZ/9/wBf8aP7Q0//AKCFn/3/AF/xrQ/4Qrwf/wBCron/AIAx/wCFH/CFeD/+hV0T/wAAY/8ACj2MO7DkkZ/9oaf/ANBCz/7/AK/40f2hp/8A0ELP/v8Ar/jWh/whXg//AKFXRP8AwBj/AMKP+EK8H/8AQq6J/wCAMf8AhR7GHdhySM/+0NP/AOghZ/8Af9f8aP7Q0/8A6CFn/wB/1/xrQ/4Qrwf/ANCron/gDH/hR/whXg//AKFXRP8AwBj/AMKPYw7sOSRhX/iPQ7MES6nbvJ/DFC3myMfQKuSTUug6RqOt6rb61rVq9lY2reZY2EmPMaTHE0voR/CvbOTzXU6bo+k6YP8AiW6XZWfY+RAqfyFXquMYw+Hcap66hRRRQahRRRQAUUUUAFFFFABRRRQAUUUUAFFFFABRRRQAUUUUAFFFFABRRRQAUUUUAFFFFABRRRQAUUUUAFFFFABXHfEf/kJ+Fv8AsJt/6Ty12Ncd8R/+Qn4W/wCwm3/pPLWtD418/wAjOr8I+iiqmtLcvo18lkSLpraQQkf39p2/riusyOB8TfHD4c+H9buNHutWubu7tTi6FhZyXC257h2UYFd3oGr6dr+i2mtaRdLd2F3GJYJlBAdT355H418vfC7xVceGfgKR4T1Hwpp/ibTbi7l8R2uuAi4nZSSAoyCzHGBnjtW/pHjm6uPGHwZ1rVNQttE03VdKvHu4IZPs9mZMHGVzt64xnuayU+5Tie3fETxfpfgXwy/iDWkuGtFmihIgTc26Rtq8E9MmmaL400nVvHWseDbVLn+0tJt4bi4LJiMpIAV2nPJ5Ga+YfF+uz6/8Kfibctq0upWaeN7ZbKQzmRFi8wYCdgv04rqta0fUtd+LXxfsNGvrux1P/hHrGa0mtpSjiWNUZRkc4OMH60e0dw5T6Zor55+CfjXVvin8StI1VLy7j07w94djXUoldljm1CUlTuXo2ApPtX0NWkXdXJasYnjshfB+qMxAUW5JJOABkV20fiDQWUbdb008drpD/WuA+KFq198OvEFiriNrmwlhDEZCllxn9a+dU/Yj8QBcj4g6fnHaxkH/ALNWWI+FfP8AQql8TPs5dY0lvu6pYt9Lhf8AGpV1Cwb7t9bH6Sr/AI18VP8AsU+Ll/1PxA00/W3lH9ajb9jHx4v+r8e6Wf8AgMwrlNz7dW4t2+7PE30cVIGU9GH518Mt+xz8S1/1fjjSj/20nH9KY37IPxYX/V+NdKP/AG9Tj/2WgD7qyPUUV8J/8Mk/GNP9X400z8L+4H/stH/DKvxxj/1fjWx/DVLgf+y0AfdlefeCv9Z4i/7D13/MV8rD9mP9oCP/AFfja3/DWJx/Svev2ZtB1zwz8ObjQ/El4LzVbTV7pLmYTGXe24c7jyazrP8AdP5GtD+Ij1Ciig9D9K849A8p8L/HTw74k8RR6PpPhzxVOHvjYm8XTibaOQNtJZwcADv7V1fw08c6f48stVutNs7q2XTdTm06QT7cu8eMsME8HNeJfsnab4+ntr6+0nxXp1p4aj8TXX2vTZNPEk02GG7Ev8ORj6YrhE1a+074W6rbLqV3pWiah8R57XWr21Yq8NscZG4fdB9fauh04vRHOqkt2fahB9KMH0NfItjqP/CJ+LvHth8G9evtY0G28JNeEi7a7jtrzcACjHPzbcn8/SqHhiXw7puq/C3V/h/4y1PV/FusX8K69btqDzGSNgDN5sZOECncPwz71PsfMftfI+p/iR4rs/A3gnUfFeoWtxdWtggd4oMb2BYLxnjvWzpd2moaZa38assdzCkyq3UBlBAP518NeOZvD2seBfiJrfivxbqUfjyPWpbW30171kBt1kG2MQ9GTGTnttFfbHg7/kUNF/7B9v8A+i1pTgopFQm5NmrWB46Yrpdjjvq1iP8AyYSt+uf8ef8AILsP+wvY/wDpQlVhv4sRV/4cj0Ciiiu44AooooAKKKKACiiigAooooAKKKKAK+o2drqFnJaXtulxbyD543GQ31rlPhtouhWsVxf6d4eu9Kn894/9LH7wrx05+4e1dk5whJOMDrXNfDe4t7nQZJrbW7zWIzcuPPukKOpGPlwewoA6aiiigAooooAKKKKACiiigAooooAbNHHNE8M0aSRupV0cZDA9QQeor5Y+P/7J+m61JN4k+GbRaPqwPmPpu7ZbzN1zGf8Alm3t936V9U0UAfDvwh/aT8ZfDXWB4H+MWnahPb2zeWbmZD9stR23Z/1qe/XHQmvs7wr4i0TxTokGteHtTttSsJxmOaB9w+h9D6g8iuY+L/wn8G/FHRjY+JNPH2lFItr+EBbi3P8Ast3H+ycivjfXvCfxi/Zd8Strnh68k1Lw1LJ88yIWtpl7LPH/AANj+L8jQB+gdFeN/AT9oTwf8UreKxMi6N4iCjzNOuJB+8PcxN/GPbqPSvZKACiiigAooooAKKKKACiiigAooooAKKKKACiiigAooooAKKKKACiiigAooooAKKKKACiiigAooooAKKKKACiiigAooooAKKKKACiiigAooooAKKKKACiiigAooooAK474j/8AIT8Lf9hNv/SeWuxrjviP/wAhPwt/2E2/9J5a1ofGvn+RnV+EfRRRXWYnJeIfhr4A8Qam2qa14Q0i+vmOXnltxvY+5HX8at634G8H63o9no+reGtMu9Psv+PW3kgGyH/dHauiopcqHdnMD4feCRpV1pK+F9MSwu547i4tlh2xySJjYxA7jAxWna6DpFjrV9r1jptrDq17EsVxchcNKqD5FY+gwK1KKLILnnnwM+Hcnw+0XVUvrmzutU1bUZL67ktIykS7j8qIDzgDP516HRRQlZWBu5i+Of8AkUdT/wCuB/mK9HX7o+leceOf+RR1P/rgf5ivR1+6PpWWI+GPz/Qql8TFooorlNwooooAKKKKACvPvBP+s8Rf9h67/wDQhXoNee2gfw34jvtO1JQtvq1/Ld2N3/A7yYJhb+64xx/eHTnipqpyptI0otKomzoqKKK8w9Ep6PpOl6Pbvb6Tp9rYwvK0zpbxhFZ26sQO59arw+HfD8OnXenRaJp6WV5I0t1bi3Xy5nbqzLjBJ9TWpRTuxWRm6DoGh6Bava6Ho9hpkDnc8drAsasfU4HNQaR4U8MaPqMupaT4d0qxvZs+ZPb2qI7Z68gZrZoouwsjEv8Awh4Uv7+5v77w3pFzd3UZiuJ5bRGeVD1ViRkitmGOOGJIYUWONFCoqjAUDgAU6ii7CyCuf8ef8guw/wCwvY/+lCV0Fc7q5fxBrFtoGmr5hs7y3u7+4/5Z24jcOE93bA+XsDk1vhYt1U+xjiGlTfmehUUUV2nCFFFFABRRRQAUUUUAFFFFABRRRQBn+ItXs9D0mXUdQlMNumAX2FgpPAyBzjNc78MfE1vrVlLatqNne30TM8htLZ4o1Qn5fvDrV3x3q2lQadLo93BNqF1fRMkdhbKHmkU8bsdFA/vEgVjfBDT9L03wvJHaXHm3zTE3qOu2WJuioynlcD8+cU+V2uK6vY76iiikMKKKKACiiigAooooAKKKKACiiigAqK8tre8tZbW7gjuLeVSkkUihldT1BB4IqWigD5G+Pf7JyS3Enin4TSf2ffxt5zaV5hRCw5zA/wDA2einj0IrC+Cv7UWv+ENSHgv4yWV6fszeT/aEkRFzbn0mT+Mf7Q5+tfa1ecfGr4M+DPipphi1yzFvqaLi31O3UCeL0BP8a/7J/DFAHc6DrGl69pMGraLqFvqFjcLuingcOjD6ir1fnzdWHxn/AGV/EpurSQ6l4Ynl5Zdz2VyM9HXrFJjvx9SK+sfgZ8dfBfxVskhsLkadripmfS7lgJAccmM9JF9xz6gUAeq0Vm6/rul6FAs2pXSxGQkRRgFpJT6Ig5Y/QVhp4yvLgb7TwlrLxn7rTNDCSPXaz5/OqUXa5LnFbnXUVyL+LNaBGzwbfN9b23H/ALPTf+Et1z/oS7z/AMD7f/4qjkfdfehe0idhRXH/APCW65/0Jd5/4H2//wAVR/wluuf9CXef+B9v/wDFU+R9196D2kTsKK4//hLdc/6Eu8/8D7f/AOKo/wCEt1z/AKEu8/8AA+3/APiqOR9196D2kTsKK4//AIS3XP8AoS7z/wAD7f8A+KpU8Wa0T83gy9A9r23P/s9Lkfdfeg9pE6+iuRbxv9lYHVfDms2UR6zLGk6J7t5bEge+K6XTNQstTso73T7qK6t5B8skTblNDi0rjUk9izRRRUlBRRRQAUUUUAFFFFABRRRQAUUUUAFFFFABRRRQAUUUUAFFFFABRRRQAUUUUAFFFFABRRRQAUUUUAFFFFABXHfEf/kJ+Fv+wm3/AKTy12NcR8VLq1srvwxcXlxDbQrqjbpJXCqP9Hl6k8VtQ+Nf10M6vwlmisj/AISfw1/0MOk/+Bif40f8JP4a/wChh0n/AMDE/wAa7OV9jC6Neisj/hJ/DX/Qw6T/AOBif40f8JP4a/6GHSf/AAMT/GjlfYLo16KyP+En8Nf9DDpP/gYn+NH/AAk/hr/oYdJ/8DE/xo5X2C6Neisj/hJ/DX/Qw6T/AOBif40f8JP4a/6GHSf/AAMT/GjlfYLoZ45/5FHU/wDrgf5ivR1+6PpXkvjHxF4fuPC+oQwa5pksrxbURLpCzEkYAGeTXrS/dH0rDEpqMb+f6GlJ6sWiiiuQ3CiiigAooooAKp6zpllq+nTafqECz28owynt6EHqCOoI6VcooTsBwNpPe+H9Si0LXZmmilO3TtRfgTjtFIe0o9f4hz1zW9WprOmWWsabNp+oQLNbyjDKeCPQg9iDyCOlcba3F7oGpRaFrkzTRSnbp2ovwJx2ik9JR+TDkc5FYV6KkuaPzR00a1vdkb1FFFcJ2BRRRQAUUVh6heX2qam/h/w/IEuFA+3X2MpZIew7NKR0Xt1PvpSpSqOyIqVFBXYaheX2q6k/h/w/IEnXH26+xuSyU9h2MpHRe3U+/W6BpFjoemR6fp8WyJMsxY5aRj952PUsTyTRoGkWOh6ZHp+nxFIkyWZjl5GP3nY9WYnkmr9eilGC5Y7HnSk5vmkFFFFAgooooAKKKKACiiigAooqjrerafoti17qVwsEIOBnlnY9FUDlmPYDmhK4XLxOASTgVyGoeJbzV7iTTvCQjdUbZcarIu6CH1EY/wCWr/T5R3Paqs0WreLDv1RZtK0U4KaerbZ7kf8ATZh91f8AYH4ntW/awQ2ttHb20McMMahUjRQqqPQAdK5K+MjT92Gr/Bf5/kaQpOWr0RQ0LRbPSVkeNpbi7nwbm8nbdNOf9pvT0AwB2FRazocd5dJqVjcPp2rRgCO8hAywH8Ei9HT2P4EVsUV5ir1FPnT1Ol04uPLbQzdD8USLex6P4kt00/U34hkU/wCj3fvGx6H/AGD831611Fc/qmn2ep2T2V/bx3ED9Ucd+xHoR2I5FZEF9q/hMBLw3OsaEuAJwN91aD/bA/1qD+8PmHfPWvWoYqFbTaX5+n+RyzpuHmjt6KgsLy1v7OK8sriK4t5V3RyRsGVh7Gp66CAooooAKKKKACiiigAooooAKKKKACiiigCtqmn2Oq6fPp+pWcF5ZzoUmgmQOjqexB4NfJfxb/ZY0zRPEdv408Ea9PoOmW9wJry1V2823Gf+XZhzkn5Qp6EjntX17XKfEw7tM0uBuUm1a2Vx2IDFv5qKcbX1Jk7JmP4a0maALqmsSNdazNGBJLIdxhXAxEmegHc/xHJNbtBorjlJyd2YpWCiiipAKKKKACiiigAooooAKwL7PhfUf+Ei09WSzdwNVtU+46E488Ds69SR1XOe1b9VNahW40e+gkAKyW0ikH0KmtaM3GS7Cfc7BWDKGUggjII70tYfw+uZLzwLoV1KSXksIWYnudgrcrpas7HQndBRRRSGFFFFABRRRQAUUUUAFFFFABRRRQAVDe3VtY2kt5eXEVtbQoXlllcKiKOpJPAFY3jTxdpPhW0je+aWe8uDts7C2XzLm6f+7Gnf3JwB3Irim0XWPF13HqXjry1tI332ugQvut4v7rTt/wAtpB6fcU9AetAHceEfFvh3xZbzT6BqkV4IH2SqAVdPQlWAIBHIOMEcjNblec+IvC9vqV3Dq2n3U2j65bKFt9RtQA4Uf8s5F6SR/wCw34YPNWvC/jq4i1KHw542todK1iT5ba6jJ+xagf8Apkx+6/rG3PpuoA7yiiigAooooAKKKKACiiigAooooAKKKKACiiigAqG7tbW7QR3VvDOgOQsqBgD64NTUUAUP7F0b/oE2H/gMn+FH9i6N/wBAmw/8Bk/wq/RTuxWRQ/sXRv8AoE2H/gMn+FH9i6N/0CbD/wABk/wq/RRdhZFD+xdG/wCgTYf+Ayf4Uf2Lo3/QJsP/AAGT/Cr9FF2FkUP7F0b/AKBNh/4DJ/hR/Yujf9Amw/8AAZP8Kv0UczCyKA0XR1YMuk2AIOQRbpx+lX6KKVx2CiiigAooooAKKKKACiiigAqnrOmWWsabNp+oQia3lGGU8EHsQexB5BHQ1cooTsBxsPhnxVbxiCHxZbSRJ8sbXGmb5NvbcwkG4474Gad/wj/i7/oaNN/8FB/+O12FFPTsvuQ7y7v7zyL4wr8SfDXw71XV/DmoQ6xqsUYFvbWujEuSWALf6w8AZPQ9K+adA/ax8aWOpjTvGmk29p5fyzPBYETK3vG7qP1Ffedcx42+H/grxpbtD4o8NabqeRgSSwjzV+jj5h+BqbRvey+5D55W3Z5V4B+KHh3x9CkGkfFXSLW6mG021zpX2a5XP93fKQT6EbhmvbPD+k2OiaXHYafHtiXLFidzSMers38THqTXy/8AEP8AYt8OXqyXXgbxBdaTPnKW17++h+gYfOP1rzc6T+1J8D5d9jJqWraPCOkLG/tSo9UPzJ+Qqr6WSJd3uz74or5A+H37aVoWWy+IHhaa0mVtr3WnHco9d0TnI/An6V9F+Afir8PvHUUZ8M+KdPvJnAP2ZpPLnHsY2w2fwpAdpRRRQAUUUUAFFFFABRTLiaK3heaeRIokUs7uwCqB1JJ6VxtzrWqeJnNv4dd7DSuRJqrJ88w9LdT2/wBs8egPWk2ormk7IOtkafiHxPHZ3f8AZOlW51PWGGRbo2EhB6NK/RF/U9hWfpehyfbl1jXLoalq2PkcriK2HdYU/h/3vvHuavaNpVjo9p9msYdik7pHYlnlbuzseWY+pq9Xl4jGOfuw0X4s6adG2stwooorhNwooooAKBRRQBz9xo15pd5JqnhaSO3mkbdcWEhxbXJzycD/AFb/AO0OvcGtzw54js9ZMlv5ctnqMA/0iyuBiWP39GX0YZBqSszXdFtNWEckjS215Bzb3kDbZoT7HuPVTkHuK9HD45r3auq79f8AgnNUodYHU0Vx+n+JLzSbiPT/ABb5cYdtlvqka7beY9lcf8snPoflPY9q7AcjNel0utjnuFFFFAwooooAKKKKACiiigAooooAK5T4lf8AHpov/YYt/wD2aurrlPiV/wAemi/9hi3/APZqaIn8LJaKKK4TIKKK4H41fEN/AWj6emnaW2r69rF2LPS7ENtEkh6lj2UZH500rgjvqK8T8VeNPjD4T+HfifWvFGheHLa4sbFLixu7GZpYvMMiqYpEY5yAxORxxXaX/wATfCHhvw9od54y8RWGlXWpWUVwsb7iWLKCSFUEhcnr0p8rHZncUVyPiD4meAdA0bT9Z1fxVp9tp+pKWsp9zOs4HUrtBJxkU9/iP4FTwra+KW8T2A0S6uBaw3uW8tpTnCHjKng9cY70rMLM6uisrwr4i0TxVo0es+HtRh1HT5HZEuIgdrMpww5APBFatIQVBqH/AB4XP/XF/wD0E1PUGof8eFz/ANcX/wDQTVQ+JCexa+GH/JOfDv8A2DoP/QBXR1znww/5Jz4d/wCwdB/6AK6Ou2fxM3jsgoooqSgooooAKKKKACiiigAooqnreq6bommT6nq17BZWcC7pJpnCqo/x9upoAuVwXiTx1cXWoz+HfA9vDqeqRHZdXspP2LTz3EjD78npGvPqVrJvdQ8RePyY4De+G/CrcFuYr/UFz27wREd/vkH+Gui0jTdP0jTotO0uzhs7SEYjhiXao/xPqepoAy/DXhi20m6m1S7up9W1y5GLnU7rBlcf3EA4jjHZF4+p5rfoooAKp6zpen6zpsum6rZw3lpKPnilXIOOh9iOoI5FXKKAOTsdU8QeAAI75rzxF4VQACfBlv8AT1/2wOZ4gO4+cDqG616Po+p6frGmwalpV5Be2c67opoXDKw9iKxK5S78Paloeoza54FnhsrqVt93pcxIsr455JA/1Uh/56KOf4gaAPUaK5nwX4003xK01kYptN1m1H+l6Xd4WeHnG4dnQ9nXIP6V01ABRRRQAUUUUAFFFFABRRRQAUUUUAFFFFABRRRQAUUUUAFFFFABRRRQAUUUUAFFFFABRRRQAUUUUAFFFFABRRRQAUUUUAFFFFABRRRQBwnxA+EHw58dRSDxF4VsJrhwf9KhTyZwfXemCfxzXzr4+/YuMM39ofDvxZJbyodyW2o5yp7bZUGR+I/GvsWigD4HTxT+1D8EXaPWbbUNU0iHgtdx/brbaO4lX5lH1I+len/Dz9s/wnqIitvGuh3miXB4e4tf38GfXH3wPwNfVDKrKVZQykYIIyDXl/xE+APws8cK8mpeGYLO8bJ+16f/AKPLn1O3hvxBoA6/wb448IeMrX7R4X8Rabqq4yVt5wXUf7S/eH4iuir4o8Y/sdeKtCvzqvw08YeY8Z3RRXLm2uEPoJU4P4hawLX4x/tHfB51s/G2j3Wo2EbYDarblwR6LcJ1/EmgD72rK8R6/p+h26Pdu7zynbb20K75p2/uoo5P16Dua8W+GP7RsPxF0SZ9L8NXGkXkMkcE93eyB7G3dwcFpFwT0OFIGfWvUdE0OGxuJNQuLiTUNUnH729mwWI/uoBwieij9ayr1o0Ypy67DhFzdkVDpmpeIplu/FG2O0Vt0GkRtujX0Mx/5aN7fdHv1roQAoCqAABgAdqWivGrVp1XeR2QgoLQKKKKyLCiivEP2soPFkml+HrjS4dduvDMF4z+ILfRJTHePFgbSpHO0fNnHtmrpw55ctxSdlc9uYhfvEL9TigMpJAYEjqAelfLGs6v4Ab4LeHJvDd7rfiXTW8YWqeXqmoSLc2UzH7jEc4GMhTwc9ap+Jde8VeH7z4/ar4VkEd3bahamS4MxR7aLYd0kfqwOBj3NbLDt9f6uR7Q+tKK4f4Hap4t1n4b6XqPjK0tIL+aCNont5/N8+IxqVlc9nbJyK7iueSs7Fp3QUUUUhkd1BBdW8ltcwxzQyKVeORQysD2IPWsCGPV/Ch3aYs2q6KDlrFm3XFsP+mLH76j+4efQ9q6Oit6GInRem3YznSU/Us6Lq2n6zYre6bdJcQklSRwUYdVYHlWHcHmrtcXreki2nm1/Sb6LSNQRC00z/8AHvOo7TL0I/2uGHr2r5/+L37WHiDwV4rj0e08G2E8RtY5jJcTyDzC2fmQgcxnGQcDNezSqRqx54HG04vlkfWlFfDqftv+JP4/Amkn6Xkg/pU6ftwa1/H4B08/S/f/AOJqwPtuivipP24dQ/j+H9qfpqLf/EVMn7cUv8fw8Q/TU/8A7XQB9n0V8bp+3HF/H8OXP01Uf/GqlX9uOx/i+HFx+Grr/wDGqAPsOivj9f24tM/i+Hd4Ppqq/wDxupF/bh0X+L4fagPpqSH/ANkoA+vK5T4lf8emif8AYZt/5NXzkv7cHh/+LwDqg+l9Gf8A2Wrvh79p7RPif4x8OeErPwtqGnTz6nHKJpbhHUBFYkYAzTRM/hZ9C0UUVwmIV5F+0d4c8TXk3hLxn4T07+1dQ8Lan9rewBw88TY3bfUjb0969do6GmnZjTseB/E3xT4m+I3wi8XaVZfDbxJpSf2ehja+jAknm81P3ccY5bAyc+1cZ498JeK9K8e6f4kl0rxPc6beeGrSxD6NZ29zNbSJGFeJ0mRgoJycjHXr1r6vyc9aKpTt0HzHy1faX4t8LeAfA2meH/DPidNFH2tr1v7OtrrVbVnfKJh1KRq3XgdPpWJYeB/FTfAJdFvfDGqm6fx/HcyWk9uDIbc/edlUbdvPJA2+nFfYGTS8+9HOPmILS1tbO3W3s7eG2gT7scSBFH0A4qaiioICoL/mxuB/0xf/ANBNT1BqP/IPuf8Ari//AKCaqPxIT2Pmvw9+2L4b8OaJZ+H5vBurTyadCtq8qXUYDlBtJAI6HFaA/be8Kd/BGtD/ALeYq9h+H3w0+Ht/4E0O8vfBegz3E1hFJLLJZIWdioJJOOSTW03wj+GDfe8B+Hj/ANuKf4V2z+JnRHZHgy/tu+EP4vBeuD/tvF/jUi/tt+Cz97wfro/7axf417i3wd+FjdfAPh7/AMAk/wAKjb4L/CdvvfD/AMP/APgGtSM8WX9tjwN/F4U18f8AAov8aev7a3gLv4Y8QD/v1/8AFV7E3wR+Ebdfh74f/wDAQVGfgX8Hz1+Hfh//AMBhQB5Kv7anw9/i8O+IR/wGP/4qnr+2l8OT10HxCP8AtnH/APFV6qfgR8Hj/wA070H/AMB//r0xvgH8G26/D3RPwjI/rQB5iv7aHw176N4iH/bGP/4upF/bO+GB+9pfiIf9u8f/AMXXor/s9/Blv+af6UPpvH/s1Qv+zp8F2/5kPTx9HkH/ALNQBwi/tl/Cs9bDxEP+3VP/AIupPht8QvC/xm+JGqahGupXVlpsEMukWt/GEhiccTOIwSGkDFDuOSAwxiuxf9mz4Kt/zI9qPpPKP/Zqq6z4B8M/C2LQNX8G6OmnWMGreVqKK7NmK6CwliWJOFcRH04NAHoFFFFABRRTJpYoYXmmkSKJFLO7sFVQOpJPQUAPorK8NeI9B8S2k154f1a01S3hlMMkttIHVXABK5HfkVq0AFFFFAHFfGK0tF8JXGtpHMmt2KgaTdWrbLiO4dgsaqw6hmIBU5BGcivU9NS6j062jvpVmulhQTyKuA7gDcQO2TmvOdehl1r4heFtAjYfZrWSTWb4eqw/LCv4yuD/AMAr06gAooooAKKKKACiiigAooooAKKKKACiiigAooooAKKKKACiiigAooooAKKKKACiiigAooooAKKKKACiiigAooooAKKKKACiiigAooooAKKKKACiiigAqK7t7e7t3t7qCKeFxh45UDKw9CDwalooAw9B8H+FtAtL600Xw/p1hbahIZbuGCBVSZiMZZenQVjXOj6p4XJn0FJdS0gEs+mM2ZYB6wMeo/6Zn8D2rtaKUoxkuWSug2d0c5o+qWOr2f2rT5xLGGKuMENGw6qynlWHoau1S8QeGFurw6vo1wNM1gDBmVcx3A7LMn8Y9+o7GqOla4z3w0jWbX+zNWx8sLNmO4A6tC/8Y9uo7ivKxGDdP3oar8V/Xc6ada+ktzboooriNwriviT4d8bavdafqHgnxuPDl1aq6Swz2YuLe5VsYLKejLjgj1rtaKcZOLuJq54QP2fpI/BkWlL4nFxq0/iWHX9Tvprbas8iE5REU/KOeK3Z/g6bx/ifHe60ot/HBQx+VCd9ptXAzk4bnB7cV61RWnt59yeRHI/CTw74i8KeC7XQvEniCDW7i0AignhtfJVIVUKiY7kAdT6111FFZt3dykrBRRRSGFZuu61Z6QkazeZNdTkrbWkC7pp29FX+ZPA7mqN1rV3qV5LpXheGO7uYyVuL2TP2a0PoSPvv/sD8SK2/Dfhuz0eSS7eSS+1Ocfv76fBkf/ZHZF9FHFejh8C371XRduv/AADnqV+kTLsPDd7rE8eoeLPLMaNvt9KjbdDH6GU/8tX/APHR2B610lzpmm3Lh7nT7SZwAu6SFWOPTkVbor0lZJJbHOZraBoLfe0XTT9bVP8ACmHw14cb72gaUfrZx/4Vq0UAY7eFfC7fe8N6OfrYx/8AxNRt4O8It97wtoh+thF/8TW5RQBz7eCPBjfe8JaCfrp8X/xNRnwD4Gbr4N8Pn/uHRf8AxNdJRQBzDfDvwC33vBfh4/8AcOi/+JqNvhr8PW+94H8On/uHRf8AxNdXRQByDfC/4cN97wL4cP8A3Dov8K5/xd4D8FaDPoWpaL4U0bTr1dXgVZ7azSNwCGyAQM816fXJ/Ev/AI9NE/7DNv8AyamtyZ/CyavNf2jvGmreCfh19r0Dy11jUL2HT7OSRcrE8h5fHsBx716VXFfGnwHH8RfAs/h/7abC7WZLmyugu7yZkOVJHp1Brija+pktzjpPAvjHwj4Y1rWbr4n67rX/ABI7w31reAFDN5LFXhI5j2t+lc38B/jFcW/hnwH4c8Q+G9eSLVl+xW2vXThormcE8DJ3EdBuNddp/h341appl9pXi7xD4XNjJpdxaBbK3fzLqR4iiPIzD5QCQTt61Qg+E3iCPwh8KtIN5p5n8Iaglzfne22RRniPjk898VenUq6L/jL4z3nhPWZU1j4d+IINCivVs21dnjEZLNtDhM5Kk9KTxl8bDofjDXPDGm+Btb1+60e2ju5pLNl2CFk3M7E/dwMcc5rzrxd+z7471jVtYZtS8M38d3qv2+HUr1Zjfqm8MIQ3KooHYV6nY/D3WIPiL478RNdWn2XxDosNhaoGO9JEj2kvxgDPpmi0QtExvD37QOm6vq3hxW8H6/Y6L4huBaWWrXKqInuD1QAEkgHjd+NcV4b+Kus+DfF3xRlufDXiLxLp1lrrSTTwSgw6fAMjHzHj/dHpXVW/wf8AEUfw8+GXh1r3TvtPhXWUvr1t7bJEDMSE45PPfFZ2s/Cf4ppd+O7fw74g8O22leMdQkkuUuInaWGFuNysBjcQWBH60/dDQ63xJ8bNNtrnSLHwr4d1PxXf6npq6otvZsqeTbN0Zy3frx7VT1H4/aLF4Z8K65p3h3VtT/4SOee1htINvnxXEWAYyvcliBkH3rm/GH7P97Hqehal4VXw7qh0/RotKuLTxBAzxSeX92VSvIbrW5a/CfXI3+G8oTw7Yt4b1O4vdQg06JoYGEmMCJcHJ45zilaIWieteGr+71TQbPUL/SrjSbqeIPLZTsDJA391iOCas6j/AMg+5/64v/6CanFQaj/yD7n/AK4v/wCgmph8SM3sWvhd/wAk48O/9g2D/wBAFdJXN/C7/knHh3/sGwf+gCukrtn8TOiOyCiiipGFFFFABRRRQAUUUUAFY/jXRI/EnhHVdCkbaL61eFX/ALjEfK31BwfwrYooA888A6tJrXg7TNQuCPtRh8q6A/hnjJSQf99q1btcr4fjj0P4h+KPDSgpFcSJrVop6bZsrKB9JUJP++K6qgAqlrmj6Zr+mS6RrFnHe2NwVE0EmdsgDAgHHUZA471drL8V6FZ+JfD93oeoS3cVtdKFke1mMUoAIPyuOR0oA8h/Y6hit/CvjCCCNIoo/FV2iIgwFACgADsK9yrz34a/B/wh8PdZm1Xw7JrCzTRvHIlzftLG24glip43fKOetehUAFFFYvjnWf8AhH/CGqawqGSW3t2MEY6ySn5Y1HuWKigBnwphTVPEfinxdv8AMSe7XS7M9hBbZDEfWVpP++RXodYXw/0NfDfgvSdEUfPa2yrKf70pGXb8WLH8a3aACiiigAooooAKKKKACiiigAooooAKKKKACiiigAooooAKKKKACiiigAooooAKKKKACiiigAooooAKKKKACiiigAooooAKKKKACiiigAooooAKKKKACiiigAooooAKoa7o+na3Ymz1K3WaPO5Gzh427MrDlWHqKv0U07A1c4aWfVvCreXrLS6lo2cJqSpmW3HpOo6j/poB9QOtdBBLFPAk8EiSxSKGR0YFWB6EEda2GAZSrAEHgg965C+8N3uizSX/AIT2eU7b7jSZG2wyepiP/LJ/b7p9B1rir4ONT3oaP8P+B+RpCq46PVG1RWboWtWerxyCDzIbmAhbm1mXZNA3oy/yPQ9jWlXlSjKD5ZKzOtNNXQUUUVIwoorI1rXYrG5j0+1t5NR1WYZisoCN2P77noif7R/DNXTpyqS5Yq7JlJRV2X9SvrPTbKS8v7mO3t4x80jnAHt7n2rGgtNX8WfNcLc6NoR/5Z/cu7se/eJD6fePtV7RvDE0l7FrHiaeO/1BOYIEB+zWn+4p+83+2efTFdTXr0MLCjq9ZfgvT/M5J1JT8kV9NsbPTbKKysLaK2tohhI41woFWKKK6SAooooAKKKKACiiigAooooAKKKKACuT+Jf/AB6aJ/2Gbf8Ak1dZXKfE/EejWF452xWuqW0sjHoq79pJ9vmpx3In8LJaKO9FcJkFFFFABRRRQAUUUUAFFFFABVfUf+Qfc/8AXF//AEE1Yqjr9wlroV/cyHCxW0jH8FNVD4kJ7Gh8Lv8AknHh3/sGwf8AoArpKxfAlnJp/gvRbGUESQWMKMD2IQZrartl8TOiOyCiiipGFFFFABRRRQAUUUUAFFFFAHnvxVRtL8R+FvFSRjy4rttLvW9IbnAVj7CVY/8Avo1uVZ+IGht4l8FatoccgimurZlgk/55yjmNvwYKfwrnPBWtDXPCemarKyJPcW6mdNw+SUfLIv4MGFAG1RTfMj/56J/30KPMj/56J/30KAHUU3zI/wDnon/fQo8yP/non/fQoAdXLeKI5NY8a+FfDUY3Qm6bVb3uPKt8FAfrK0f/AHya6fzI/wDnon/fQrE+GUS6t4z8U+KfMEkSSpo9kR0CQfNKR9ZXYf8AAKAPQ6KKKACiiigAooooAKKKKACiiigAooooAKKKKACiiigAooooAKKKKACiiigAooooAKKKKACiiigAooooAKKKKACiiigAooooAKKKKACiiigAooooAKKKKACiiigAooooAKKKKACiiigDD8SeG7TWJI7yOWSw1OAfuL6DiRf9luzp6qePpWNaa1d6fex6T4ohjtLqQhbe7jz9muz6KT9x/wDYb8Ca7Wq+pWNnqVlJZX9tFc28ow8ci5BrOrShVVp/eOMnB3iUaRiFUsxAAGST0Arnri11rwmC1ul3rmiDAES/PeWo9s/61Pr8w96fbaJqfiZluPEaPY6Xw0elK/zy+9ww6/7g49c1wRy+fNZvTv8A8A3eIVttRi6lqXiOZrXwwRFZg7ZtXkTMY55WFT/rG/2vuj36V0nhzQdP0K2aKzR3llO6e5mbfNO3952PJ/kO1aMMUUMKQwxpHGgCoiLhVA6AAdKfXowhGnHlgtDnbcneQUUUVQBRRRQAUUUUAFFFFABRRRQAUUUUAFFFFABVTWNPtdW0u5029jElvcxmORfY/wBat0U07aged6bqE+k3SeH/ABFIIr1Pktbp+I75B0ZT034+8vXPI4rerd1LT7HUrRrTULSC6gbrHKgZT+Brmn+H2iBj9ku9bsU/5522pzKg+g3HFRKlCTvexi4SWxY5o5qt/wAK/wBP/wCg74m/8G0v+NH/AAr/AE//AKD3if8A8G0v+NT7CP8AN+AuWXYs80c1W/4V/p//AEHvE/8A4Npf8aP+Ff6f/wBB7xP/AODaX/Gj2Ef5vwDll2LPNHNVv+Ff6f8A9B7xP/4Npf8AGj/hX+n/APQe8T/+DaX/ABo9hH+b8A5ZdizzRzVb/hX+n/8AQe8T/wDg2l/xo/4V/p//AEHvE/8A4Npf8aPYR/m/AOWXYsOyohd2CqBkknAArBgU+NL+K0swW0CCUSXl2OEumU5EMf8AeXIBZunGOcmtq28AeHkkEl4t/qhHRb+9knT/AL5Y7T+IrqYY44YlihjSONRhVUYCj0A7VcIRg7p3Y1Tb3HUUUUzYKKKKACiiigAooooAKKKKACiiigArlrr4c+A7q5lubjwfoks0zmSR2s0JdicknjqTXU0UAcl/wrP4e/8AQl6F/wCASf4Uf8Kz+Hv/AEJehf8AgEn+FdbRQByX/Cs/h7/0Jehf+ASf4Uf8Kz+Hv/Ql6F/4BJ/hXW0UAcl/wrP4e/8AQl6F/wCASf4V0OjaXpui6dHp2k2NtY2cWfLgt4wiLk5OAOOSSa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B//Z">
            <a:extLst>
              <a:ext uri="{FF2B5EF4-FFF2-40B4-BE49-F238E27FC236}">
                <a16:creationId xmlns:a16="http://schemas.microsoft.com/office/drawing/2014/main" id="{E0A3E4E5-9F64-409E-8379-0E70B0AC031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" name="AutoShape 8" descr="data:image/jpg;base64,%20/9j/4AAQSkZJRgABAQEAYABgAAD/2wBDAAUDBAQEAwUEBAQFBQUGBwwIBwcHBw8LCwkMEQ8SEhEPERETFhwXExQaFRERGCEYGh0dHx8fExciJCIeJBweHx7/2wBDAQUFBQcGBw4ICA4eFBEUHh4eHh4eHh4eHh4eHh4eHh4eHh4eHh4eHh4eHh4eHh4eHh4eHh4eHh4eHh4eHh4eHh7/wAARCAFKA0Q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82+MXxUh+HuqaLZf2RLqQvH86/dJNosbMOkbTtxzhpFGPrzQB6TRWbruv6HoVil9rWr2OnWrkKkt1OsasT0AJPNV9U8XeFtLs7S81LxFpVpbXoBtZZrtEWYHuhJ+YfSgDaorJ13xN4c0FYG1rXdN00XB/c/arlI/M/3dx5rB8WfFDwd4X8U6N4e1jVra3n1aKSaKVpkWKJFXIZyWGA3RSAckGgDtKKRSGUMpBBGQR3paACiiigAooooAKKKKACiiigAorn/AIj+Iz4Q8B614nFp9rOmWj3Ag37fM2jpnnFZfgzxB4vvLc6l4u0PRNE0o2q3CXEOqGUjIBwwZFCjB65oA7SiueTxdoup+H9T1LwzrGkau1jC7ny75PKVwpIEjjOwcdT0HNY+meN7ufxfoWh3drYRxaj4ffVp54bnzUjZWjG1H6MmHJ3ewoA7mis4a9opsbG+GrWJtb90js5vPXZcO33VQ5wxPYDrULeJ/Da6tHpDa9pg1GSVoUtTdJ5rSKASoXOcgEHHvQBr0VkWHijw3f6zNo1jr+mXOpQ5821iukaVMdcqDnirup6lp2lxRy6lfW1nHJIIkeeUIGc5IUE9+Dx7UAWqK5z/AITzwT/Zf9qf8JdoX2HzvI+0fb4/L8z+5uzjPtWlrOvaJo2mDU9X1ewsLE4xcXFwscZz0wxODmgDRorOt9d0W40Q65b6vYS6WELm8S4UwhR1O/OMfjXL6F8Q7HXfiWPDei3Gnajph0X+0Rf2twJMuJvLKfLxjHPrQB3NFZGl+KPDeq6pPpema/pl7fW+fOt4LpHkTHXKg5rXoAKKKKACiiigAoorz7xp408T2PxDtPBvhbw7p+qXU2ltqUkt5fm3VEEvl7RhGyc0Aeg0Vzcni3TdF02xPjTVNF0HUrhAXt5L9dobPRWbaWHvgVJqWvXNv4r0rS7dNNls720nuGke9Cz/ACBSvlxYzIp3csDxx60AdBRXHfDLxvB4o8G6Dq+pNZ6ff6wsxgtBNy5jdgwQHlsBcn0rem8QaFCt60usWEa2EqxXha4UC3dsbVfn5SdwwD6igDTorDPjDwmNJn1c+JNI/s+CYwS3X2xPKSQdULZxu9utaelajYarYRX+mXtve2kozHNBIHRh7EcGgCzRXnWreP8AXb3xdqXhvwJ4Xh12XR9q6pd3V8LWCGVl3CFTtYu+0gnjAyMmuh/4TDTdM0Gxv/GNxY+F7q5X57W+vYwUfPKhs4b6j1oA6SiqQ1bSy9ig1G0LagCbMCZT9owu47OfmwvPHamSa5o0a6g0mrWSLppAvi06gWxKhh5nPy8EHnsaANCisiw8T+G7/RZdbs9e0240yIkSXcdyhhQjrls4FT6Drmja/ZG90PVbLUrYMVMtrOsihvQlT1oA0KKKKACiiigAooooAKKKhv5/stjcXW3d5MTSbc9cDOKAJqK88+BPxLHxL8Ly6lc6V/Y9/A0ZlszN5mIpY1kikBwMhkb06gjtVT4b/FmDxp8QPE3h6HSvsunaPGJbfUXmBW7QSPG7hcfKoeN8HPOKAPTqKxtF8U+HNdluYdD17S9Tnth+9jtrpJCn+9tJwPes/QPGNjJ4X0/VfEmoaHpc94krqsepJLCwQnJSQ4DYABOOlAHU0VxnjH4neDvDPgSTxnNq9rfaUHEcT2c8cnnuWxtQ7gCRySM9Aa1v+Ey8Jjw/H4gbxHpSaVI21LxrtBEzdMBs4Jz2oA3aKzT4g0IabbakdZ08WV0wW3uPtCeXKSCQFbOCcA/kabo3iTw/rVhNqGka3p1/aQErNPb3KOkZHUMQcD8aANSisfQ/FPhrXRc/2Lr+maj9l/1/2a6STyv97B4pmneL/Cmo6lDpun+JNIur2aITRW8N5G8joRncFByRigDborJvfE/hyx1qHRLzXtMt9Tnx5VpLdIsz56YQnJpL7xR4bsdZh0W91/TLbUpseXaS3SLK+emFJzzQBr0VmeKJ9cttIeXw7p9nqGoBl2QXVyYIyM8kuFbHHtXnngH4ieMtfvdSm1bwzoOkaPpGpTafqV42sEmJ4lBZlBjAK/MvJI70AerUVlaH4l8Pa5ZzXmja5p2oW0BImltrlJFjOM/MQeOPWuX8c/ErSNM+Hes+KfC9/pevPpjQo8cN0HQM8qJhihOOGJ/CgDvaKpQarps2pyaVHfWzajFCs8tqsoMsaNwGK9QCehq7QAUUUUAFFFFABRRRQAUVwXxf8W+LPBmiXviDSPDmm6rpOn2T3V28+oNBKNmSVVQjA8D1FO8O+N7230VdW+ISeHvC9tcpG9k39rB/NDLk53qmCMjpnrQB3dFZV/4k8P6fosetX2uadbaZKAY7uS5RYnB6YYnBz7Vi3njOP/hNfC2j6b9kvdP122u7gXkcu4AQqhXaRwQdx/KgDr6Kp6Rqmm6vaG70q/tr63DtH5tvKHTcpwwyOMg8GvPPAvjvxx4uvZ7qw8JaTHoUGqz2ElzJqrCfbDIUZxH5eM8ZA3UAen0Vj2/inw1casukwa/pcuoO0irapdIZS0f+sG3Ocrg59MUuj+KPDes309hpOvaZf3dv/robe6SR4+3IByKANeisOXxj4Tj1K402TxNo6XtsVE9ubyMSRliAAy5yMkgfUitBNU02S4vbdL+2aaxCm7jEoLQAruG8fw5HPPagC5RWRfeJ/DljokOt3mvabb6ZOqtDdyXKLFIG5BVicHPtUj+INBTTrbUm1nT1srpgtvcG5QRysQSArZwTgH8jQBp0Vm6F4g0PXrKS90TWLDUraNikktrcLIiMOoJU8GqVp428H3cM81r4p0WeO3lSGZo72NhHI7bVViDwSxwPU0Ab9FVZtS0+HU4NMlvbdL64RpIbdpAJJFXG5lXqQMjJ96tUAFFFFABRRRQAUUUUAFFFFABRRRQAV4FNovi74heKviDqlha6E2jXkTeGbf8AtUTK/kxKfNeMKPutK7HPcoPSvfaAABwAKAPmNtUju/Afg7VfEuvyaD4y8MC803fe6W95aXMsWIpEkUL1dVQqwIY5OM1a8Y62E0/w347nSHw94vPh3YPD15o8lzaXsbPv+zphcxyFlGMHcAwyMV9I7F/ur1z070FVJGQDjpx0oA+ZvF51KL4rajrHirWovCNpq+hWK2IvNDXUIlHlnz7YORiNhISSv8WQe1XbnT9E8FyfCDVLy8uNT8O6dBfWkmpz6c+797HmEPHtLIMgqoI44r6MZVYYZQR7ilIDDBAI96AERlZFZfukZHHaloooAKKKKACiiigAooooAKKKKAOC/aHjkm+B/jGKKN5HbSpgqopLE47AVzWuaRc+C/g5fa3ZTa14mnOm24NhrE73tvGCU3P5OMnYCWwOSFxXsRAIwRkUUAfLnhiWXUPF3j+6t9ZGv283gV41vbbRTYQyOGk+RVAxIRnGeTzjtXV+E7C6uPEHge3WCRWf4cyQZZCArnyAAfQ+1e7hVAwFAGMdKAo44HHA4oA+WtI8QWV74F+E/g2C11M61ofiCxj1SBrCVRZmMuh8xiu0ZJGME5HNeheDPDaz6n8W9SsdNiTxBc6tPDZXkkeJARaR+VtYjgBmPI7k17HtXJ+UcnPSlAAzgAZ60AfLHwk0mwvJPAml6l42a11jRLmOU6MnhnyLqK4VGWRJJgMlTlsuThuDXrH7Q+l2+s6b4P0+8she2kviywFxCyFlZPnzuH931zxXp21dxbaMnqcc0EA4yM80AeIWHg/QJfjv8QWl8N2TQHw9ZrGGtB5eXWUPtGNuSFUHHPArkPCVxb6Tpnwi8ReOrO4m8O2nh65tRLNaPNHZ3paMRPIoBK/uldQxHH419P4Gc4GaQqpXaVG30xxQB8uapp32rwv4p8Rafot4fAV34x0/UDYpaOn2iyjCi6lWDAby2kAbGPmCk45rXBsPEnxN8Xaj8NtPkt/t/gWe2tL6Kza2iubsOQpQsBkrlRux274r6N7Y7UgVVxhQPoKAPmT4RabpOoax4Ghk8bFNS0Mhk0eLwz9kuIXERWSKaQDheuSeGIB5r6cpAqhiwUAnqcUtABRRRQAUUUUAFePeM/Dr+IP2jdPjbUdb0yKPwrIftGm3LQMW+1D5S4HI74r2GjAznAz60AfPfxf1CbS/Edz4Xn1CPS7aLQUFvqV5oh1S81hmMgaAORjK4GR1JfPSovhpb3n9qfBhpoLgNF4NvUkLo2UbZAAGz0PHQ19EEAkEgEjp7UBV4+UcdOOlAHzL4YlXw34S+DfizWIbqDStLn1GC+mFu7m2MwkWNnVQSFJGM47iqOrvH4l8G/GW9t7C+ax1PX9OaFZrV4nmixApYKQGwQDz6V9UbV27dox6Y4oKqc/KOevFAHgvx20RtE8XeB76wmg8O+GLBLqKW5j0hby3tbhkQRM8OMDKqyiQj5fbNdd+z5penWGi63eaX4mfX4dR1R7l5V042cKSFFDCKPGNpwCSOCc+9emkAjBAI9KAABgAAUAeH+FPEWnfC7x7450zxp9qsLfWdYbV9Mv/ALLJLDcxyRopTcinDqykbTz0xVb4l+NUv/E+iPF5Ph3Sr/SJJ4dY1Dw493cTt5m37IsbD5CR8+Dy2RgV7wyqw+ZQfqKCAcZAODkZoA+Z/CFwfDXw9+DHibW4b2HTdIur6K+l+yOWthLHNHGzoASi5wOnGRUkT6B4os/ivf6tPq+kaPf69p81tff2dIWQpBCY5miKktFuQE7hgg84r6UKqV2lQR6Yo2jngc9eOtAHy74p1HxN4q+GlrdNHB/ZejeLoDc6tp+jMYb60RM/ajaN99VdgGHIO3I4FeifAmx0ybxV4i8Raf42XxHLeW9tDcrb6P8AYbdShfY3A2u+CQSOQMZ7V6+AAMAAD0pFVVGFUAegFAC0UUUAFFFFABRRRQAVT10E6HfgAkm2kwB/umrlFAHylbL4m8F+BPAGv+FtMupr7xT4UtfDlwiIf9Hu/LBtrhx22hpAc+1dTZ6PL4H8Z+L7HR9BOsR6V8P7OG3tGiJS9kR59yHj5ixySOp3e9fQe1cAYGB0pcDOcDPrQB80/C7UJNW+M/hy+i1qDVV/4R+9WcWWgGwgs2PkkQbsfOQQflPK496b4N0ODUtK+BtpqulfabeG41OWSKeElUYK5QsCMdcEZ719LhVHRQPwoCrx8o46cdKAPm3x5oL/APCEfGvTtM0ljCmqW13BbQ25Iz5MDytGoHU4Ynb71J8TNRtNV8V+BvF+ka0uleE47G7gTUm0Q3VvbXRKffiYDYWUMocjsRnmvo/A54HPWk2rt27Rt9McUAfOD+F9Hn8BeHbKHUz4p0vU/H0N3Of7NNrAAwO9EixgR7hnj5SWNa/iGKTwz49+KV5ofhaHUE/4RmxnXThbfuLqQGZTlFGGwoGQOSBiveNq4AwMDpx0pcDOcDPrQB80fDi8k1L4vi8g1yLW4T4Ru45JrPQjYW8T+ZERCDj94Rz15X8TU/hbwzp2n/Bz4RX1nokdtqKa/YTSzJb7ZgZGcSFmxuwQcHPGMV9HhVHRQPwo2rgDaMDpxQB4H4Vv/CGi+KvGOh+PNFkuvEWo+JXuLYSaW9w15AxT7M0TBSNqAeo24J4ri9V0eObU/HHhrxh4z/4R+41TXbmYQSeG/tM9zAzg28kNwAWbCBAMfcK4r6w2rkNtGR0OKCqkhioJHQ46UAQ6fGYbC3haV5ikSqZHGGfA6n3NeBRX+o6D8NPiZf2+gxalJ/wmdwfKu7Rp4kjZoAZzGBmRUGXwOu2voSkwADwOaAPmPwnHpus+IPiH/a2vXesaHe+F4IbnUtO0NrION8obykUHzCoP3gD6dqi1nVtQ1b4MeOtBtZLTW7Cwh09LLXbHSmtTdEzpmNo8YZ4woJK/L83QHNfUIVV+6oH0FG1du3aNvpjigDyX4Ewv4f17xH4V8Q2jt4rNwb6fV3Qn+2bdziOYN0XaPkMY4XHAwa9bpMDO7Az60tABRRRQAUUUUAFFFFAHCftCRyTfA7xpFDG8kjaNchURSSTsPAA61w3xG1y40uTwVp8z2Oh2c2jF21260Y37RyKsYFqi4wrODnnrtwK90IBGCMikKqQAVBA9qAPlzw5a6bH8FvCF9q3iCfw/qGm61qU+mXV3ozSW5YzSqUmgxiMMjfKOCP4at+NYPGXj7R/AUmm2f9gazd6TquYIYmhikUbP3eThoVmUcHhlD19MFVIwVBHpilwM5wM0Acl8INU0XVfh/pr6FpLaLbWyG1fTWiMbWcsfyvER3IPfv17159+z34SaTT9R1ubWfElo6eJdRcWKXrR2rgXD4zFjBB/WvbgAM4AGaAAOgAoA+fvDvhW4ufhb8V59C0oJ4lv9a1lLecR7Z3O5lUIx5GVJAxxz71mfCTTtL1TxL4Okh8dh9S0W2kEWkweGvsUkWYdjxTuBwAecN1IBFfSgAHQAUgVQSQoBPU460AfH93d+Frb4NaR4XvtDnXxvYeI7d9QZ9NcSwzG/XfO8xXG11IAO47twH09I1rxBY+D/AIlfE211q31FZvEFjayaSsFlJN9sK2zRMiFQQWDdQcYBzXr3jPwzpvizRf7J1Qzrb/aILgmFwrF4ZFkTnB43KM+1bZAJBwMjoaAPlV7TUtP0T4R6tqGqNoOkWvhc2xvZ9I+3RWt2yx4Dxn/VlkDAOfQjvWyfCujS+BfCthBqR8U6VqPj+K7nZtNNtBhw5dVixgRbhn+6cmvpAqpXaVBHpjijauAMDA6cdKAPnf4i+HtR/t/4u6b4R02WCa98Mae8cNmnliZw0ocLjA3mNdvHPSt60tvhx8S/Aep+GPCemrbXp0RYfPTTHtzaspBjjZ2QfOsiqdvJGCa9rwM5wM+tNeMNG6KSm4H5l4IJ7/WgDxP9njUNR8eeINQ+IWsW0kEllYQ+H7eOUcrNF814w+suBn0Svbqw/AvhfS/Bvhm30DSPPa2hZ3Mk775ZXdy7u7YGWLMSeK3KACiiigAooooAKKKKACjvRRQAUUUUAFFFFABRRRQAUUUUAFFFFABRRRQAUUUUAFFFFABRRRQAUUUUAFFFFABRRRQAUUUUAFFFFABRRRQAUUUUAFFFFABRRRQAUUUUAFFFFABRRWN4k8R2Oi+XAyyXd/PkW1lAN0sp9cfwr6scAU0gbNS7uLe0t3uLqeKCFBl5JGCqo9yelSRusiB0YMrDKsDkEetcRFot5rNwmoeLGiuCpDQaah3W1ufU5/1r/wC0eB2FJHY6p4YkM3h1TeaZnMmku+NnPJgY/d/3Dwe2KwWJoufJza/gVyTS5rHc0Vm+H9c07XbM3GnzFtjbJYnXbJC/dXU8qfrWlW7TW5NwooopAFFFFABRRRQAUUUUAFFFFABRRRQAUUUUAFFFNkdY42kkYKigszE4AA70AOrNvPEGhWUhjvNa063cdVluUUj8Ca42e5vvGTNcSXFxZ+HiSLe3iYxyXq/89JGHIQ9lGMjk+lXrHRdHsYhFZ6XZQIOgWFf54yaUpwg7PcydR9Dc/wCEs8Lf9DJo/wD4Gx/40f8ACWeFv+hk0f8A8DY/8azPsdn/AM+lv/36X/Cj7HZ/8+lv/wB+l/wqfbQ7MXPI0/8AhLPC3/QyaP8A+Bsf+NH/AAlnhb/oZNH/APA2P/Gsz7HZ/wDPpb/9+l/wo+x2f/Ppb/8Afpf8KPbQ7MOeRp/8JZ4W/wChk0f/AMDY/wDGj/hLPC3/AEMmj/8AgbH/AI1mfY7P/n0t/wDv0v8AhR9js/8An0t/+/S/4Ue2h2Yc8jT/AOEs8Lf9DJo//gbH/jR/wlnhb/oZNH/8DY/8azPsdn/z6W//AH6X/Cj7HZ/8+lv/AN+l/wAKPbQ7MOeR0Gn6vpWoNtsNTsrs4ziGdXP6GrtcJqHh7RL/AAbjTLcSKcpLGvlyIfVXXBB/GpdB1bUNE1W30fWrp76xu28uxv5MeYknUQynuSM7W74weetxlGfw7jVTXU7aiiig1CiiigAooooAKKKKACiiigAooooAKKKKACiiigAooooAKKKKACiiigAooooAKKKKACiiigAooooAKKKKACiiigAooooAKKKKACiiigAooooAKKKKACiiigAooooAKKKKACiiigAooooAKKKKACiiigAooooAKKKKACiiigAooooAKKKKACiiigAoJwM1R1vVtP0Wwe+1K5S3hXgE8lmPRVA5Zj2A5rlJ49X8V5OprNpWiH7tirbbi6X1mYfcX/YHPqe1TOcaceabsgSbdkWtS8TXeqXEmm+E1jlKMUuNTkGbeA9wn/PV/YcDue1S6FolppRlmVpbm+uMG5vJzummI9T2HoowB6VoWtvBa28dtbQxwwxqFSNFCqo9ABUleTiMXKr7q0j/AFudVOio6vcKKKK5DYxtZ0Jbq7XVNOuX03V41CpdxDO9Qc7JF6OvseR2IqxofihmvU0fxDbppuqNkRENmC6A7xOe/wDsH5h79a0aq6rp9lqlk9lqFulxA/VWHQ9iD1BHqORXdh8a4LlnqvxX9djCpRvrHc6CiuJg1DV/Cnyag1xrGhjpcgb7q0Ho4HMiD+8PmHcHrXX2N5a31nFeWVxFcW8q7o5I2DKw9iK9SLUlzRd0c2qdmT0UUUwCiiigAooooAKKKKACiiigAooooAK5b4nsz+GBp6O0f9o3UNmzKcEI7jfj/gIYfjXU1ynxL/49NE/7DNv/ACaqi7O5E/hY9I0jjWONQiKAqqOgA6ClFLRXAZBRRRQAUUUUAFFFFABRRRQAVl+LLNb7w5fwY+cQtJE3dZE+ZGHuGANalQah/wAeFz/1xf8A9BNXTbU00J7G74av/wC1PD2nan3urWOY49WUE1oVznwv/wCSc+Hf+wdB/wCgCujrrluzoWwUUUUhhRRRQAUUUUAFFFFABRRRQAUUVHdXFvaW0lzdTRwQRKXkkkYKqKOpJPAFAElcZ4x8dR6dqDeH/Dtn/bniMpu+yo+2K1U9HuJOka+3LHsO9Yl94o1vxwzWvhCWXSfD5ysuutHia5GeVtUYcA/89WGP7oPWtbw5oWl+HtP+w6TaiGIsZJGLFpJnPV3c8ux7kmgDKsfGPiPwpJt+IAtr3S5SCNa0+ApHasx+5PFyVQZwJBkY+9jrXpNtNDcwR3FvNHNDIoZJI2DKwPQgjgiucZVZSrKGUjBBGQR6GuRi0nWvBc733ghFutMZi9z4fmk2x8nJa2c/6puvyH5D/s9aAPVaKw/B3irR/FVi9xpkzrNC3l3VpOhjuLaTukiHlT+h6gkVuUAFFFFABRRRQAUUUUAFFFFABRRRQAUUUUAFFFFABRRRQAUUUUAFFFFABRRRQAUUUUAFFFFABRRRQAUUUUAFFFFABRRRQAUUUUAFFFFABRRRQAUUUUAFFFFABRRRQAUUUy4mit4XmnkSKJAWd3bCqPUk0APrnfEXidLK6/srSrY6nrDLkW6NhIR/elfoi/qewrMuda1TxOTB4deTT9KyRJqjJiSYdxAp7f8ATQ8egPWtLRdKsNHtDbWMHlqzF5GJLPIx6s7HlifU1z18TCjpu/63/wAi4U3P0KGmaHJ/aA1jXboanqoz5blcQ2wPVYk/h/3jlj69q3KKK8epVlUlzSZ1xgoqyCiiioKCiiigAooooAK5+40a80q8k1TwtJHBLIS9xp8hxbXR9f8Apm/+0OPUGugorWjXnRd4sicFNakfhvxHZ60ZLfy5LPUYP+Piyn4ljPr/ALS+jDINbVctrui2mrCKSRpLe8gyba7gbbNCfVT6eoOQe4qGw8SXmkTx6d4s8tA7BLfVI12wTHsJB/yyf6/Kex7V7NCvCv8ADo+3+RyTg4b7HX0UAggEcg0VqSFFFFABRRRQAUUUUAFFFFABXKfEv/j00T/sM2/8mrq65T4l/wDHpon/AGGbf+TU0RU+FktFFFcJkFIzKqszsqqoyWY4AHqTS14h+1LLcalqXgLwNJqE1ho/iPWPJ1OSJ9hkjXbiMt2BJ/lTSuxpXPX5Nc0WPT59Rk1jT1srf/XXH2lPLj/3mzgfjV2GSOaFJoZFkjdQyOpyGB6EHuK8F+OPwy8F+B/gl401Dwto/wDZclxpsdvMkcrlHUTIQSpJ+b3rG8X/ABi8QaFfaN4M8M3Wj6U1l4ftbq6vdSs57kSu0SlYkSJWI4x8x4qlG+w7XPpaivANR+Lviq++GPhjxHa6l4Z8KX2omdLyPVreeV3eNto8iFFLsDySccZFZifHLxlc/A+z8WWdppL64vidNFmHlMLe4U5+ZVPKZ469PSjkYcrPpKisTwTH4oj8Owr4yuNMuNY3MZn09GSHaT8oAbnIGAT3rbqCQqvqP/IPuf8Ari//AKCasVX1H/kH3P8A1xf/ANBNVD4kJ7Fv4Yf8k58O/wDYOg/9AFdHXOfDD/knPh3/ALB0H/oAro67Z/EzojsgoooqRhRRRQAUUUUAFFFFABRRXD+L/Gl5HrE3hbwjYrf65GiNdTT5W009XGVaVurMRyI15Pcgc0AbXjLxZo/hW0il1KSSS4uG8u0srdPMuLp/7saDk+54A7kVxD6PrPjG6j1HxyqQ2CMHtfD0Um+FCDlXuGH+uf8A2fuD0J5q/wCGvDEGl3kur393Nq+vXC7bjUrkDeVznZGo4jjHZF/HJ5roKAEACgKoAAGAAMACloooAKKKKAOe8SeGItSvY9Z0y8l0bX4F2walbqCxXOfLlU8Sxn+634EHmrvhfx1KNTh8OeMrWLSNakJW2lRibTUMd4XPRvWNvmHbcOa1Kpa5pOm65pkumatZxXlpKPnjkGRnsR3BHYjkUAdnRXllvrevfD2Nv7Ylu9f8KRgn7aRvvdOT/pqOs0Y/vj5wOoPWvTrS4gu7SG6tpVlgmRZI3U5DKRkEfUUAS0UUUAFFFFABRRRQAUUUUAFFFFABRRRQAUUUUAFFFFABRRRQAUUUUAFFFFABRRRQAUUUUAFFFFABRRRQAUUUUAFFFFABRRRQAUUUUAFFFFABRRWR4l8T+HfDVq114g1zTtLhA3Frq4WPj2yeaANeivnnxx+138LdCEsWjNf+IrlMhRaw+XET/vvjj3ANeNav+1L8Y/HUzad8PfCa2JclQ1naveTjP+0RtB/4DQB9peLfE2keGLBbrVbkRmQ7YYgR5kzeij+Z6Dua43w/eWnxBabUL3VtP1CytJ/L/suxuVmghkGCPOdeJHxg4+6PfrXyvB+z7+0F8ULyHUPH2uNZR4JVtTvDI8YPULEmQv04r3H4G/DZfgONT03VNWub6w1WaNo9Q8sLbRuoIw45MbHOMklTgcis6/P7N+z3/H5Dhy83vbHtYAAAUAAcADtS0gIZQykEEZBHQilrwDvCsP4g6ldaP4D1/VrF1S7stNuLiBmUMFdIyykg8HkdK3KwfiJp93q3gDxDpdhF5t3d6ZcQQR5A3O0bBRk8Dk1ULcyuJ7GB8JvGE2qfBHRfGviu+gjkk037Xf3JURooGdzYHA4HaqvgT41+A/GWurouk3WoRXksD3FsLyyeBbqNRlmjLD5hjmvMPDPhv4pa18DZvg/rXgM6DCujtbw6w+qRSK8yMHRWjXJAYjaTk4Gah+FPw98cQeKtDutf8G6tZXehWM0Vnqd94nF3bxS+UVXy4AMhC2OM4Aro9lD3m3+KM+aWh6X4e+PHw/1zxJZ6DbSavb3F/IYrKW702SGK5cfwozDkntV5PjJ4Jf4ey+OBcXv9mRX39nvH9mP2gXG8J5fl9c5IP0rwvRPh/wDGrUvGHg6+8WaPqtw+j67HdX17c69HNA6Bj88NuMCMAemSfSuhm+EfjBvjlLYLYJ/wrqfxEniWWYSrzOsZPlbM5/1h9MVTpUr7/iJTkekeK/jr8PPDPiCfRNSvb9p7Uot7Lb2MksNmzYwsrqMKeeR2qz4u+M3gbw14gh0O6ub+9u5IIrhv7PsnuEhik+47svABBB+hrxPxX8KPH1j4v8Z29v4X1bxJoniO/ku0ax8TLYQlX6pPEQd2On0FanxJ+H/xCHiTTG+H/gyfSNRs7GztIPENrryohjRFDRXELD96FIIBxyAOvSj2VLTX8UHNI+nAQQCOhGRS1HaiZbaJbhleYIokZRgFscke2c1JXGbBUdzBDc28lvcQxzQyKVeN1DKwPYg9akqO5nhtreS4uZo4YY13PI7BVUepJ6U1e+gnbqYEEWr+FTu0lZtU0UH5tPZt09svrCx+8v8AsH8D2rlfG37Snwu8Iawmlarf6g9w0KzHyLNnCg5+VuhVgQcqRkV1UEur+Kzt0tp9K0U/ev2XbPcj0hU/dU/3z+A71j+J/wBn/wCE/iS/W/1jwstxdCMRmUXUqswGeWwwy2Sck8mvoKXtOT978X9b+f8ATOCXLze5t/WxyQ/a7+DR63+sD66c3+NPX9rj4MH/AJimqj66dJWi/wCy18E2/wCZUkX6X83/AMVUT/sqfBVv+Zcul+l/L/8AFVQFdf2tPguf+YzqQ+unSf4U9f2sPgqf+Y9fD66dL/hSN+yd8F2/5gd+v01CT/Gom/ZI+DDf8wrVB9NRegC0v7VnwUP/ADMl0Prp03/xNPX9qj4Jt/zNE4+unz//ABNZrfsh/Bo9LHWV+mot/hSL+yD8Gwcm01th6HUT/hQBsL+1F8E2/wCZtYfWxm/+JqVf2nPgo3/M4oPrZzf/ABFYEn7IHwdZSFt9cjPquoHj8xULfsd/CMnKtr49vtw/+JoA6pf2lvgo3/M7W4+ttN/8RVLVPjN8NPGmp6BofhnxVbahqMmrQukCxSKSqhiT8ygcCubl/Y2+FLfduvEMf0u1P80qKz/Zu8DfDfxT4e8VaFfazLew6pHGqXMyNHh1YHgKD+tNEz+Fnt1FFFcJiFcn8UPAOg/ETw8uj66s8fkyie1urd9k1tKOjo1dZXLfEL4geE/AVnBc+JtUW1Nw223gRGkmmPfai8n69KavfQaOOPwShuvDmtaTrfjzxTrcmq2a2X2i9nD/AGeIOr/InTJKjJPNWfFHwa0/VNT0/WNH8T674b1e00+PT5LzTpFBuoYwAokUjBIx1rofh18SvCfj6W8g8O3dy9zZBWuLe5tXglRWztO1hyDg9K7HB9DT5pId2eVa/wDBez1W08POvjPxNa6xoSSxw6us6vcypKcuHJGPpjoKgtvgToNv4HXwmmuarJbL4gXXfPl2vKZV/gJ7g9z1r0/XNV03QtLn1TWb6DT7G3AM1xcPsSME4GT25IFWbeSO4hjmhYSRyoHjZeQykZBHsRRzMLsfRQetFSSFQX+PsNxnp5L/APoJqeoNQ/5B9z/1xf8A9BNVH4kJ7Hx9pvhT9rSbT4Ljw/q2qrpEiBrFU1SFQsJ+4AC2Rxjipz4X/bNTpqmtH/uJwH+tfYfwu/5Jx4d/7BsH/oArpK7Z/Ezojsj4W/sL9tBP+Yhrp/7frc/1pP7M/bRT/l515v8At6tj/WvuqipGfCht/wBtJP49fP8A21tj/Wkz+2kn8HiA/jan+tfdlFAHwn9q/bSX/lj4gP8A2ztTS/2p+2gn/Lp4gP8A262x/pX3XRQB8KHxB+2dH10/xAf+4fAf6U3/AISz9sqPrpmvH/uEwn/2Wvu2igD4RPjr9sWPrpOun/uCRH/2SvSf2etV+J8nimXVfijDdWtzr2+yijubNbYmS2QSIwUAA5R5Bn/YxX1LXD/G2xaXwQ+tQRs13oFxHq0G37xEJzIo+sZkH40AaVFRWtxDd2sN3bOJIJ41kjYdGVhkH8jUtABRRWN401PVtI8O3F7oehya5qIKpBZJKI97McZZjwqjqT6CgDZory34U/EvX/EfjvXPBPizwxbaNq+lW6XBazvPtELIxGAT2bkfrXqVABRRRQByXxSzeaDbeGYZmiuPEN7FpqlfvCNjumI+kSvXqEEUcEEcEKBI41CIo6AAYArzjRUj1z4xuzR74fDOncMeguro9vcRJ/5Er0qgAooooAKKKKACiiigAooooAKKKKACiiigAooooAKKKKACiiigAooooAKKKKACiiigAooooAKKKKACiiigAooooAKKKKACiivIPH37SPwl8Hzy2lz4h/tO9jJV7bTYzMysDggtwoP1NAHr9Br4r8WftneINUuXsPh/4JVHfiKW8LTyk+ojTj9TXOp4b/at+L8bPqV3qmmaZMeVuphYQEHsI1wzD8DQB9feOfi38OfBcLt4g8W6bbyr/wAu8colmJ9NiZNeD+O/21fDNmGg8G+Gb7VZe0964t4vwUZY/pVDwP8AsT6fGEuPGvi6e6lzue306PYp9vMfJP5CvevA3wP+Fvg3ypNG8H6ebmMcXV0n2ibPrufOD9MUAfKEnxN/ag+LVwYvC2mX+l2L8A6da/Z4gPeaTk/gfwrV8M/se+OvEd62pfETxlFbSSHdII3a8uGPu7EKPzNfbyqqqFVQoHQAcCloA8P8Cfss/CTwyiPdaPLr90OTNqUu8Z9kXCj8jXsmkaVpmj2SWWk6faWFsgwsNtCsaD8FGKuUUAFMnijnheGaNJI3Uq6OMhgeoI70+igDirjQ9T8MsZ/Dqvf6V1fSmb54R3MDH/0WePQjpWjourWOsWn2qwm3qDtkRlKvE3dXU8qR6GukrnvEPhmO+u/7V0u4OmawoAFzGuVmA6JKnR1/UdjXPXwsK2uz/rf/ADLhUcPQt0Vh6Zrki366Pr1qNN1Uj5F3ZhufeJ/4v904YenetyvHqU5U5cslqdcZqSugoooqCgooooAKKKKACiiufn1i91a8k0zwrHHPJG2251CUZtrY9wP+ej/7I4HcitaNGdaVooidRQV2Tat4n0iwun09Lhb3VFZVGn2rCS4LMMjKA/KMc5bAA70un+GrzVriPUfFhjk2EPBpcbbreAg5DOf+Wr+5+Udh3r5M+N3wb+LHw18bXfxU8DeItS1tnkae7uYxi7iz94PGOJI+OwwB1HGa9N/Z8/ao0Hxibfw/458jQtfYiNLgnba3LfU/6tj6Hj0PavYoUI0Vdb9/8jknNzeux9KjgUUisGUMpBBGQR3pa2JCiiigAooooAKKKKACiiigArk/iX/x66J/2Gbf+TV1lcn8S/8Aj10T/sM2/wDJqaIn8LJqKKK4TIDXz54svLLRv2thqHimW1torjw55Xhy6v8A/j1iuR94EngHOc9+fcV9B1keKfDPh7xTp4sPEejWWq2ytuWO5iDhT6jPQ/Sqi7DTPnuX4ieMdW0H4s6Trd14abUNB0JZINU8Oh03F8nAkLZOPwwc1W1NE0P4ReFLzWvG3jrUNY8ZNbTBLfVUtgX8rPliVxthjwwyeSSBXvekfDrwLpGjX+j6X4V0u0sNRj8q9hihwJ0/uuepH41a1jwX4T1jw5a+HNU8P2F5pFoqLbWksW5IQowu3uMDiq5kVzI+RrybVdd+A/xP03U9d1m4tvDmp28likuqrdthjtaOSZRiVOc8YGQD2rovHN9e6Lo3w58F+HPFWtXuharby3V3cpr0cE8swVT5AumBVFXPC/hX0lpHgPwZpGmahpmmeGdMtLHUUCXlvHABHOoGAGXoeKrv8NvAMnhiPwzJ4S0p9HilM0do0AKJIerDuCfXNHOg5kcl+zLJ4oHhnWLLxHqa6jFa6iU0931OO+mjhKg+XLLHwWHvjrXrNZHhXwz4f8K6adN8N6PZ6VZlzI0VtHtVmIxuPqeOta9Q3dksKg1D/jwuf+uL/wDoJqeoNQ/48Ln/AK4v/wCgmnH4kS9iz8Lv+SceHf8AsGwf+gCukrm/hd/yTjw7/wBg2D/0AV0lds/iZ0R2QUUUVIwooooAKKKKACiiigApk8Uc8EkEyB45FKOp6EEYIp9FAHlvwtaa10G58OXQIuPD97Lppz/FEp3Qt+MTJXWVzusRSaN8YhIGAs/Eem9PS6tj/NonH/fuuioAK5T4tXul2XgLUf7b0fVtX0y4C211baZGzzmNzgsApBwO5BzXV0AkdOKAPmv9mbSprL4s+IbrwdouvaV4AnslyusQlZJLoEY2FvmIA3dSf5V9KUEk9STRQAU2WSOGJ5ZWCxopZ2PYAZJp1cp8U3mm8Lf2FaTGK7125i0uFh1USnEjD6Rhz+FAGx8E7e4k8ISeILyPZda/eS6kykcrG5AhX8IlSu5qGytobOygs7dAkMEaxxqOyqMAfkKmoAKKKKACiiigAooooAKKKKACiiigArG8UeILfQI7RprS8u5LufyIYrZAzltrN3IGMKa2a474j/8AIT8Lf9hNv/SeWtKUVKVmRNtRuh//AAm5/wChV8Q/9+Y//i6P+E3P/Qq+If8AvzH/APF0UV0+yh2MueXcP+E3P/Qq+If+/Mf/AMXR/wAJuf8AoVfEP/fmP/4uiij2UOwc8u4f8Juf+hV8Q/8AfmP/AOLo/wCE3P8A0KviH/vzH/8AF0UUeyh2Dnl3D/hNz/0KviH/AL8x/wDxdH/Cbn/oVfEP/fmP/wCLooo9lDsHPLuR3Pj+G1ga4uvDevwQJy8jQR4Qepw/SuyHIrzfxz/yKOp/9cD/ADFejr90fSsa0IxSaLpybbTFooorA1CiiigAooooAKKKKACsDxb4iGkLFZWMIvdYuwRa2oOB7yOf4Yx3P4Dmjxb4iGkLFZ2UIvdXu8i1tQcfV3P8MY7n8BzWVoWkmxaa9vLg3uq3ZDXV0wwW9EUfwovQL+J5pTmqauy6dN1HZbFJNB1iVfNvPGmvfaH+aQW0kccQY9QilCQvpyad/wAI9qH/AEOnif8A8CIv/jdb9Fcn1ur3/I6/q1LsYH/CPah/0Onif/wIi/8AjdeQN+yh8O7rXL/VdU1HXb17u4efy/OSNULHJHC88k+le/UVLxNR7saw9NbI8/8ACnwq0bwhamLwlqV/pDgfK8ccByR03ny9zD2JrvfCPiKTUJZNJ1aFLTWrZcyxKfkmTtLET1U/mp4NPrM1/SI9Uiikjme0v7ZvMtLuMfPC/wDVT0KngitqWJbdqn39jKphla8Nzs6K5zwj4ik1CWTSdWiS01q2XMsSn5Jk7SxE9UP5qeDXR10tWOVMKKKKQBRRRQAUUUUAFFFFAFLW9J0/WrBrHUrVLiFiGAbgqw6MpHKkdiOa5OZtX8J/LqLT6toi/dvQu64th6SqPvqP74GR3Heu5oPPWpnCNSPLNXQJtO6MS1uILq3jubWaOeGRdySRsGVh6gipax9S8M3el3MmpeE2jhZ2L3GmSHFvcEnkr/zzf3HB7jvUmh63aaqZYVSW1voOLizuF2zRH3HcejDIPrXk4jCSpe8tV/W51U6ylo9zUooorkNgqrquo2Wl2T3moXCW8C/xN3PYAdST2A5NUNZ1xba8XS9Ntm1LV5BlLWI4EY/vyt0Rfc8nsDVnQ/C7LeprHiC4XUdUXmIAYgtPaJD3/wBo/MfbpXdh8E5+9PRfi/67mFSslpHczrfT9Y8VYk1FbjR9EOCtqDsubsf9NCP9Wh/uj5j3I6V2FhZ2thZxWdlbxW9vEoWOKNQqqB2AFT0V6kUox5YqyObd3e4V88ftB/sv+GfHouNc8KiHQPEbAu2xcW123+2o+6x/vD8Qa+h6KYHwT8O/jP8AE/4B+IU8E/ErS72/0aJgqRztulhjHG63l6On+yTj0xX2l8PPHXhfx/oEet+FdWhv7ZwN6g4khb+66HlT9ab8RvAfhb4g6BJovirSob63IPluRiSFsfeR+qmvi34hfBz4ofs++IX8a/DfVb2/0WM5eWFcyRJ12XEQ4dP9oDH0oA++KK+ev2fP2nvDPxAEGieJ/I8P+I2wqq74trpv+mbH7rH+6fwJr6FoAKKKKACiiigAooooAK5P4l/8euif9hm3/k1dZXLfFBHXwx/aCRtJ/Z11DeMqjJKI434/4CWP4VUVd2IqfCx9FNjdJI1kjYOjgMrDoQehp1cBkFFFFABRRRQAUUUUAFFFFABUGof8eFz/ANcX/wDQTU9ZXiy8Fj4cvp/4zC0cS93kf5UUe5YgVdNNySQnsa/wu/5Jx4d/7BsH/oArpKz/AA1Yf2V4e07TeP8ARbWOE49VUCtCuyTu2dC2CiiipGFFFFABRRRQAUUUUAFFFFAHB/G+18vwlB4kiDfaPDl5HqalRyY0ysy/QxM/5CtSKSOaJJoWDxuoZGHQqRkH8q6O9toL2zms7qJZYJ42jlRhwysMEH6g15X4ct/iB4f0O10JvBa6munobeK7TWIkE0aEiNtrLkHbtyD3oA7Oiuc/tDx7/wBE5P8A4PIP/iaP7Q8e/wDROT/4PIP/AImgDo6K5z+0PHv/AETk/wDg8g/+Jo/tDx7/ANE5P/g8g/8AiaAOjrmrGNNc+MdrEQXg8Nae1y/90XNzlEH1Eauf+B07+0PHv/ROT/4PIP8A4mtn4XaLqmm2Oqalr1rFa6tq+oSXU0McokEUYASKPeOGwiL07k0AdhRRRQAUUUUAFFFFABRRRQAUUUUAFFFFABXHfEf/AJCfhb/sJt/6Ty12Ncd8R/8AkJ+Fv+wm3/pPLWtD418/yM6vwj6KKK6zEKKKKACiiigAooooAxfHP/Io6n/1wP8AMV6Ov3R9K848c/8AIo6n/wBcD/MV6Ov3R9KxxHwr5/oXS+Ji0UUVym4UUUUAFFFFABWD4t8RLpCxWdnCL3V7vItbUHGfV3P8MY7n8BzW9XnvhFVn1XxHqE37y7Orz23mtywijICID2UZPHvSlJQi5MqEeeSiXtB0k2LTXt7cfbdVu8G6umGN3oij+FF7L+PWtSiivOnNzd2ejGKirIKKKKgoKKKKACiiigDM1/SE1OKKSOZ7S/tm8y0u4x88L/1U9Cp4IrQ8I+In1CSTSdWiS01q1UGaJT8ky9pYieqn81PBp9YHjSNEj0vUEGy7ttTtVhmXhlV5kR1z6MpII712Yaq21Tlt08jkxFJWc1ud/RRRXScoUUUUAFFFFABRRRQAUUUUAFY3iXw5Y60I5maW0v4Afs17bnbLCfQHuvqpyDWzRTTA4dNavNFuU0/xYsUG47YNSjG22n9mz/qn/wBknB7GkjvdU8UO0Ph5mstMyVl1Z05f1Fup+9/vngdga63W2sI9IupdUjikskiZpllUMpUDJyDwa474R+NR4qj1C3nWOGa3mLQxKMYgJ+UY9un5VgsNRUufl1/Arnm1a51fh/RNO0Oza20+ErvbfNK7FpJn7u7Hlj7mtKiit229yUrBRRRSAKKKKAChgGBVgCD1BoooA+Zv2gv2VNB8XfaNf8B+RoWunLva422ty3XoP9Wx9Rx7d68r+Fvx/wDiB8G9eHgb4saXqF7p1uwjDTjN1bJ0DIx4lj9Ofoe1fdtcf8U/ht4R+JWhNpPinS47jaD5Fynyz27H+JH6j6dD3FAGp4J8W+HfGmgw654Z1W31GxlAw8Tcof7rDqrD0NblfAPjH4b/ABa/Zr8SP4r8Falcaj4e3/vJ4kLIUz9y5i6f8CHHoRX0V+z/APtJeE/iVHDpOqNHoXiUgA2kr/urg+sTnr/unn60Ae6UUUUAFFFFABTZEWSNo5FDIwKspGQQe1OooA87mtb7waTbvb3F74eBzbzwqZJbJT/BIo5aMdmGSBwRxmrtprmi3abrfVrGQe065H4E8V29ZeoeHPD+oyGS/wBD026c9WmtUcn8SKUoQm7vcydN9DE/tDT/APoIWf8A3/X/ABo/tDT/APoIWf8A3/X/ABrQ/wCEK8H/APQq6J/4Ax/4Uf8ACFeD/wDoVdE/8AY/8Kn2MO7FySM/+0NP/wCghZ/9/wBf8aP7Q0//AKCFn/3/AF/xrQ/4Qrwf/wBCron/AIAx/wCFH/CFeD/+hV0T/wAAY/8ACj2MO7DkkZ/9oaf/ANBCz/7/AK/40f2hp/8A0ELP/v8Ar/jWh/whXg//AKFXRP8AwBj/AMKP+EK8H/8AQq6J/wCAMf8AhR7GHdhySM/+0NP/AOghZ/8Af9f8aP7Q0/8A6CFn/wB/1/xrQ/4Qrwf/ANCron/gDH/hR/whXg//AKFXRP8AwBj/AMKPYw7sOSRhX/iPQ7MES6nbvJ/DFC3myMfQKuSTUug6RqOt6rb61rVq9lY2reZY2EmPMaTHE0voR/CvbOTzXU6bo+k6YP8AiW6XZWfY+RAqfyFXquMYw+Hcap66hRRRQahRRRQAUUUUAFFFFABRRRQAUUUUAFFFFABRRRQAUUUUAFFFFABRRRQAUUUUAFFFFABRRRQAUUUUAFFFFABXHfEf/kJ+Fv8AsJt/6Ty12Ncd8R/+Qn4W/wCwm3/pPLWtD418/wAjOr8I+iiqmtLcvo18lkSLpraQQkf39p2/riusyOB8TfHD4c+H9buNHutWubu7tTi6FhZyXC257h2UYFd3oGr6dr+i2mtaRdLd2F3GJYJlBAdT355H418vfC7xVceGfgKR4T1Hwpp/ibTbi7l8R2uuAi4nZSSAoyCzHGBnjtW/pHjm6uPGHwZ1rVNQttE03VdKvHu4IZPs9mZMHGVzt64xnuayU+5Tie3fETxfpfgXwy/iDWkuGtFmihIgTc26Rtq8E9MmmaL400nVvHWseDbVLn+0tJt4bi4LJiMpIAV2nPJ5Ga+YfF+uz6/8Kfibctq0upWaeN7ZbKQzmRFi8wYCdgv04rqta0fUtd+LXxfsNGvrux1P/hHrGa0mtpSjiWNUZRkc4OMH60e0dw5T6Zor55+CfjXVvin8StI1VLy7j07w94djXUoldljm1CUlTuXo2ApPtX0NWkXdXJasYnjshfB+qMxAUW5JJOABkV20fiDQWUbdb008drpD/WuA+KFq198OvEFiriNrmwlhDEZCllxn9a+dU/Yj8QBcj4g6fnHaxkH/ALNWWI+FfP8AQql8TPs5dY0lvu6pYt9Lhf8AGpV1Cwb7t9bH6Sr/AI18VP8AsU+Ll/1PxA00/W3lH9ajb9jHx4v+r8e6Wf8AgMwrlNz7dW4t2+7PE30cVIGU9GH518Mt+xz8S1/1fjjSj/20nH9KY37IPxYX/V+NdKP/AG9Tj/2WgD7qyPUUV8J/8Mk/GNP9X400z8L+4H/stH/DKvxxj/1fjWx/DVLgf+y0AfdlefeCv9Z4i/7D13/MV8rD9mP9oCP/AFfja3/DWJx/Svev2ZtB1zwz8ObjQ/El4LzVbTV7pLmYTGXe24c7jyazrP8AdP5GtD+Ij1Ciig9D9K849A8p8L/HTw74k8RR6PpPhzxVOHvjYm8XTibaOQNtJZwcADv7V1fw08c6f48stVutNs7q2XTdTm06QT7cu8eMsME8HNeJfsnab4+ntr6+0nxXp1p4aj8TXX2vTZNPEk02GG7Ev8ORj6YrhE1a+074W6rbLqV3pWiah8R57XWr21Yq8NscZG4fdB9fauh04vRHOqkt2fahB9KMH0NfItjqP/CJ+LvHth8G9evtY0G28JNeEi7a7jtrzcACjHPzbcn8/SqHhiXw7puq/C3V/h/4y1PV/FusX8K69btqDzGSNgDN5sZOECncPwz71PsfMftfI+p/iR4rs/A3gnUfFeoWtxdWtggd4oMb2BYLxnjvWzpd2moaZa38assdzCkyq3UBlBAP518NeOZvD2seBfiJrfivxbqUfjyPWpbW30171kBt1kG2MQ9GTGTnttFfbHg7/kUNF/7B9v8A+i1pTgopFQm5NmrWB46Yrpdjjvq1iP8AyYSt+uf8ef8AILsP+wvY/wDpQlVhv4sRV/4cj0Ciiiu44AooooAKKKKACiiigAooooAKKKKAK+o2drqFnJaXtulxbyD543GQ31rlPhtouhWsVxf6d4eu9Kn894/9LH7wrx05+4e1dk5whJOMDrXNfDe4t7nQZJrbW7zWIzcuPPukKOpGPlwewoA6aiiigAooooAKKKKACiiigAooooAbNHHNE8M0aSRupV0cZDA9QQeor5Y+P/7J+m61JN4k+GbRaPqwPmPpu7ZbzN1zGf8Alm3t936V9U0UAfDvwh/aT8ZfDXWB4H+MWnahPb2zeWbmZD9stR23Z/1qe/XHQmvs7wr4i0TxTokGteHtTttSsJxmOaB9w+h9D6g8iuY+L/wn8G/FHRjY+JNPH2lFItr+EBbi3P8Ast3H+ycivjfXvCfxi/Zd8Strnh68k1Lw1LJ88yIWtpl7LPH/AANj+L8jQB+gdFeN/AT9oTwf8UreKxMi6N4iCjzNOuJB+8PcxN/GPbqPSvZKACiiigAooooAKKKKACiiigAooooAKKKKACiiigAooooAKKKKACiiigAooooAKKKKACiiigAooooAKKKKACiiigAooooAKKKKACiiigAooooAKKKKACiiigAooooAK474j/8AIT8Lf9hNv/SeWuxrjviP/wAhPwt/2E2/9J5a1ofGvn+RnV+EfRRRXWYnJeIfhr4A8Qam2qa14Q0i+vmOXnltxvY+5HX8at634G8H63o9no+reGtMu9Psv+PW3kgGyH/dHauiopcqHdnMD4feCRpV1pK+F9MSwu547i4tlh2xySJjYxA7jAxWna6DpFjrV9r1jptrDq17EsVxchcNKqD5FY+gwK1KKLILnnnwM+Hcnw+0XVUvrmzutU1bUZL67ktIykS7j8qIDzgDP516HRRQlZWBu5i+Of8AkUdT/wCuB/mK9HX7o+leceOf+RR1P/rgf5ivR1+6PpWWI+GPz/Qql8TFooorlNwooooAKKKKACvPvBP+s8Rf9h67/wDQhXoNee2gfw34jvtO1JQtvq1/Ld2N3/A7yYJhb+64xx/eHTnipqpyptI0otKomzoqKKK8w9Ep6PpOl6Pbvb6Tp9rYwvK0zpbxhFZ26sQO59arw+HfD8OnXenRaJp6WV5I0t1bi3Xy5nbqzLjBJ9TWpRTuxWRm6DoGh6Bava6Ho9hpkDnc8drAsasfU4HNQaR4U8MaPqMupaT4d0qxvZs+ZPb2qI7Z68gZrZoouwsjEv8Awh4Uv7+5v77w3pFzd3UZiuJ5bRGeVD1ViRkitmGOOGJIYUWONFCoqjAUDgAU6ii7CyCuf8ef8guw/wCwvY/+lCV0Fc7q5fxBrFtoGmr5hs7y3u7+4/5Z24jcOE93bA+XsDk1vhYt1U+xjiGlTfmehUUUV2nCFFFFABRRRQAUUUUAFFFFABRRRQBn+ItXs9D0mXUdQlMNumAX2FgpPAyBzjNc78MfE1vrVlLatqNne30TM8htLZ4o1Qn5fvDrV3x3q2lQadLo93BNqF1fRMkdhbKHmkU8bsdFA/vEgVjfBDT9L03wvJHaXHm3zTE3qOu2WJuioynlcD8+cU+V2uK6vY76iiikMKKKKACiiigAooooAKKKKACiiigAqK8tre8tZbW7gjuLeVSkkUihldT1BB4IqWigD5G+Pf7JyS3Enin4TSf2ffxt5zaV5hRCw5zA/wDA2einj0IrC+Cv7UWv+ENSHgv4yWV6fszeT/aEkRFzbn0mT+Mf7Q5+tfa1ecfGr4M+DPipphi1yzFvqaLi31O3UCeL0BP8a/7J/DFAHc6DrGl69pMGraLqFvqFjcLuingcOjD6ir1fnzdWHxn/AGV/EpurSQ6l4Ynl5Zdz2VyM9HXrFJjvx9SK+sfgZ8dfBfxVskhsLkadripmfS7lgJAccmM9JF9xz6gUAeq0Vm6/rul6FAs2pXSxGQkRRgFpJT6Ig5Y/QVhp4yvLgb7TwlrLxn7rTNDCSPXaz5/OqUXa5LnFbnXUVyL+LNaBGzwbfN9b23H/ALPTf+Et1z/oS7z/AMD7f/4qjkfdfehe0idhRXH/APCW65/0Jd5/4H2//wAVR/wluuf9CXef+B9v/wDFU+R9196D2kTsKK4//hLdc/6Eu8/8D7f/AOKo/wCEt1z/AKEu8/8AA+3/APiqOR9196D2kTsKK4//AIS3XP8AoS7z/wAD7f8A+KpU8Wa0T83gy9A9r23P/s9Lkfdfeg9pE6+iuRbxv9lYHVfDms2UR6zLGk6J7t5bEge+K6XTNQstTso73T7qK6t5B8skTblNDi0rjUk9izRRRUlBRRRQAUUUUAFFFFABRRRQAUUUUAFFFFABRRRQAUUUUAFFFFABRRRQAUUUUAFFFFABRRRQAUUUUAFFFFABXHfEf/kJ+Fv+wm3/AKTy12NcR8VLq1srvwxcXlxDbQrqjbpJXCqP9Hl6k8VtQ+Nf10M6vwlmisj/AISfw1/0MOk/+Bif40f8JP4a/wChh0n/AMDE/wAa7OV9jC6Neisj/hJ/DX/Qw6T/AOBif40f8JP4a/6GHSf/AAMT/GjlfYLo16KyP+En8Nf9DDpP/gYn+NH/AAk/hr/oYdJ/8DE/xo5X2C6Neisj/hJ/DX/Qw6T/AOBif40f8JP4a/6GHSf/AAMT/GjlfYLoZ45/5FHU/wDrgf5ivR1+6PpXkvjHxF4fuPC+oQwa5pksrxbURLpCzEkYAGeTXrS/dH0rDEpqMb+f6GlJ6sWiiiuQ3CiiigAooooAKp6zpllq+nTafqECz28owynt6EHqCOoI6VcooTsBwNpPe+H9Si0LXZmmilO3TtRfgTjtFIe0o9f4hz1zW9WprOmWWsabNp+oQLNbyjDKeCPQg9iDyCOlcba3F7oGpRaFrkzTRSnbp2ovwJx2ik9JR+TDkc5FYV6KkuaPzR00a1vdkb1FFFcJ2BRRRQAUUVh6heX2qam/h/w/IEuFA+3X2MpZIew7NKR0Xt1PvpSpSqOyIqVFBXYaheX2q6k/h/w/IEnXH26+xuSyU9h2MpHRe3U+/W6BpFjoemR6fp8WyJMsxY5aRj952PUsTyTRoGkWOh6ZHp+nxFIkyWZjl5GP3nY9WYnkmr9eilGC5Y7HnSk5vmkFFFFAgooooAKKKKACiiigAooqjrerafoti17qVwsEIOBnlnY9FUDlmPYDmhK4XLxOASTgVyGoeJbzV7iTTvCQjdUbZcarIu6CH1EY/wCWr/T5R3Paqs0WreLDv1RZtK0U4KaerbZ7kf8ATZh91f8AYH4ntW/awQ2ttHb20McMMahUjRQqqPQAdK5K+MjT92Gr/Bf5/kaQpOWr0RQ0LRbPSVkeNpbi7nwbm8nbdNOf9pvT0AwB2FRazocd5dJqVjcPp2rRgCO8hAywH8Ei9HT2P4EVsUV5ir1FPnT1Ol04uPLbQzdD8USLex6P4kt00/U34hkU/wCj3fvGx6H/AGD831611Fc/qmn2ep2T2V/bx3ED9Ucd+xHoR2I5FZEF9q/hMBLw3OsaEuAJwN91aD/bA/1qD+8PmHfPWvWoYqFbTaX5+n+RyzpuHmjt6KgsLy1v7OK8sriK4t5V3RyRsGVh7Gp66CAooooAKKKKACiiigAooooAKKKKACiiigCtqmn2Oq6fPp+pWcF5ZzoUmgmQOjqexB4NfJfxb/ZY0zRPEdv408Ea9PoOmW9wJry1V2823Gf+XZhzkn5Qp6EjntX17XKfEw7tM0uBuUm1a2Vx2IDFv5qKcbX1Jk7JmP4a0maALqmsSNdazNGBJLIdxhXAxEmegHc/xHJNbtBorjlJyd2YpWCiiipAKKKKACiiigAooooAKwL7PhfUf+Ei09WSzdwNVtU+46E488Ds69SR1XOe1b9VNahW40e+gkAKyW0ikH0KmtaM3GS7Cfc7BWDKGUggjII70tYfw+uZLzwLoV1KSXksIWYnudgrcrpas7HQndBRRRSGFFFFABRRRQAUUUUAFFFFABRRRQAVDe3VtY2kt5eXEVtbQoXlllcKiKOpJPAFY3jTxdpPhW0je+aWe8uDts7C2XzLm6f+7Gnf3JwB3Irim0XWPF13HqXjry1tI332ugQvut4v7rTt/wAtpB6fcU9AetAHceEfFvh3xZbzT6BqkV4IH2SqAVdPQlWAIBHIOMEcjNblec+IvC9vqV3Dq2n3U2j65bKFt9RtQA4Uf8s5F6SR/wCw34YPNWvC/jq4i1KHw542todK1iT5ba6jJ+xagf8Apkx+6/rG3PpuoA7yiiigAooooAKKKKACiiigAooooAKKKKACiiigAqG7tbW7QR3VvDOgOQsqBgD64NTUUAUP7F0b/oE2H/gMn+FH9i6N/wBAmw/8Bk/wq/RTuxWRQ/sXRv8AoE2H/gMn+FH9i6N/0CbD/wABk/wq/RRdhZFD+xdG/wCgTYf+Ayf4Uf2Lo3/QJsP/AAGT/Cr9FF2FkUP7F0b/AKBNh/4DJ/hR/Yujf9Amw/8AAZP8Kv0UczCyKA0XR1YMuk2AIOQRbpx+lX6KKVx2CiiigAooooAKKKKACiiigAqnrOmWWsabNp+oQia3lGGU8EHsQexB5BHQ1cooTsBxsPhnxVbxiCHxZbSRJ8sbXGmb5NvbcwkG4474Gad/wj/i7/oaNN/8FB/+O12FFPTsvuQ7y7v7zyL4wr8SfDXw71XV/DmoQ6xqsUYFvbWujEuSWALf6w8AZPQ9K+adA/ax8aWOpjTvGmk29p5fyzPBYETK3vG7qP1Ffedcx42+H/grxpbtD4o8NabqeRgSSwjzV+jj5h+BqbRvey+5D55W3Z5V4B+KHh3x9CkGkfFXSLW6mG021zpX2a5XP93fKQT6EbhmvbPD+k2OiaXHYafHtiXLFidzSMers38THqTXy/8AEP8AYt8OXqyXXgbxBdaTPnKW17++h+gYfOP1rzc6T+1J8D5d9jJqWraPCOkLG/tSo9UPzJ+Qqr6WSJd3uz74or5A+H37aVoWWy+IHhaa0mVtr3WnHco9d0TnI/An6V9F+Afir8PvHUUZ8M+KdPvJnAP2ZpPLnHsY2w2fwpAdpRRRQAUUUUAFFFFABRTLiaK3heaeRIokUs7uwCqB1JJ6VxtzrWqeJnNv4dd7DSuRJqrJ88w9LdT2/wBs8egPWk2ormk7IOtkafiHxPHZ3f8AZOlW51PWGGRbo2EhB6NK/RF/U9hWfpehyfbl1jXLoalq2PkcriK2HdYU/h/3vvHuavaNpVjo9p9msYdik7pHYlnlbuzseWY+pq9Xl4jGOfuw0X4s6adG2stwooorhNwooooAKBRRQBz9xo15pd5JqnhaSO3mkbdcWEhxbXJzycD/AFb/AO0OvcGtzw54js9ZMlv5ctnqMA/0iyuBiWP39GX0YZBqSszXdFtNWEckjS215Bzb3kDbZoT7HuPVTkHuK9HD45r3auq79f8AgnNUodYHU0Vx+n+JLzSbiPT/ABb5cYdtlvqka7beY9lcf8snPoflPY9q7AcjNel0utjnuFFFFAwooooAKKKKACiiigAooooAK5T4lf8AHpov/YYt/wD2aurrlPiV/wAemi/9hi3/APZqaIn8LJaKKK4TIKKK4H41fEN/AWj6emnaW2r69rF2LPS7ENtEkh6lj2UZH500rgjvqK8T8VeNPjD4T+HfifWvFGheHLa4sbFLixu7GZpYvMMiqYpEY5yAxORxxXaX/wATfCHhvw9od54y8RWGlXWpWUVwsb7iWLKCSFUEhcnr0p8rHZncUVyPiD4meAdA0bT9Z1fxVp9tp+pKWsp9zOs4HUrtBJxkU9/iP4FTwra+KW8T2A0S6uBaw3uW8tpTnCHjKng9cY70rMLM6uisrwr4i0TxVo0es+HtRh1HT5HZEuIgdrMpww5APBFatIQVBqH/AB4XP/XF/wD0E1PUGof8eFz/ANcX/wDQTVQ+JCexa+GH/JOfDv8A2DoP/QBXR1znww/5Jz4d/wCwdB/6AK6Ou2fxM3jsgoooqSgooooAKKKKACiiigAooqnreq6bommT6nq17BZWcC7pJpnCqo/x9upoAuVwXiTx1cXWoz+HfA9vDqeqRHZdXspP2LTz3EjD78npGvPqVrJvdQ8RePyY4De+G/CrcFuYr/UFz27wREd/vkH+Gui0jTdP0jTotO0uzhs7SEYjhiXao/xPqepoAy/DXhi20m6m1S7up9W1y5GLnU7rBlcf3EA4jjHZF4+p5rfoooAKp6zpen6zpsum6rZw3lpKPnilXIOOh9iOoI5FXKKAOTsdU8QeAAI75rzxF4VQACfBlv8AT1/2wOZ4gO4+cDqG616Po+p6frGmwalpV5Be2c67opoXDKw9iKxK5S78Paloeoza54FnhsrqVt93pcxIsr455JA/1Uh/56KOf4gaAPUaK5nwX4003xK01kYptN1m1H+l6Xd4WeHnG4dnQ9nXIP6V01ABRRRQAUUUUAFFFFABRRRQAUUUUAFFFFABRRRQAUUUUAFFFFABRRRQAUUUUAFFFFABRRRQAUUUUAFFFFABRRRQAUUUUAFFFFABRRRQBwnxA+EHw58dRSDxF4VsJrhwf9KhTyZwfXemCfxzXzr4+/YuMM39ofDvxZJbyodyW2o5yp7bZUGR+I/GvsWigD4HTxT+1D8EXaPWbbUNU0iHgtdx/brbaO4lX5lH1I+len/Dz9s/wnqIitvGuh3miXB4e4tf38GfXH3wPwNfVDKrKVZQykYIIyDXl/xE+APws8cK8mpeGYLO8bJ+16f/AKPLn1O3hvxBoA6/wb448IeMrX7R4X8Rabqq4yVt5wXUf7S/eH4iuir4o8Y/sdeKtCvzqvw08YeY8Z3RRXLm2uEPoJU4P4hawLX4x/tHfB51s/G2j3Wo2EbYDarblwR6LcJ1/EmgD72rK8R6/p+h26Pdu7zynbb20K75p2/uoo5P16Dua8W+GP7RsPxF0SZ9L8NXGkXkMkcE93eyB7G3dwcFpFwT0OFIGfWvUdE0OGxuJNQuLiTUNUnH729mwWI/uoBwieij9ayr1o0Ypy67DhFzdkVDpmpeIplu/FG2O0Vt0GkRtujX0Mx/5aN7fdHv1roQAoCqAABgAdqWivGrVp1XeR2QgoLQKKKKyLCiivEP2soPFkml+HrjS4dduvDMF4z+ILfRJTHePFgbSpHO0fNnHtmrpw55ctxSdlc9uYhfvEL9TigMpJAYEjqAelfLGs6v4Ab4LeHJvDd7rfiXTW8YWqeXqmoSLc2UzH7jEc4GMhTwc9ap+Jde8VeH7z4/ar4VkEd3bahamS4MxR7aLYd0kfqwOBj3NbLDt9f6uR7Q+tKK4f4Hap4t1n4b6XqPjK0tIL+aCNont5/N8+IxqVlc9nbJyK7iueSs7Fp3QUUUUhkd1BBdW8ltcwxzQyKVeORQysD2IPWsCGPV/Ch3aYs2q6KDlrFm3XFsP+mLH76j+4efQ9q6Oit6GInRem3YznSU/Us6Lq2n6zYre6bdJcQklSRwUYdVYHlWHcHmrtcXreki2nm1/Sb6LSNQRC00z/8AHvOo7TL0I/2uGHr2r5/+L37WHiDwV4rj0e08G2E8RtY5jJcTyDzC2fmQgcxnGQcDNezSqRqx54HG04vlkfWlFfDqftv+JP4/Amkn6Xkg/pU6ftwa1/H4B08/S/f/AOJqwPtuivipP24dQ/j+H9qfpqLf/EVMn7cUv8fw8Q/TU/8A7XQB9n0V8bp+3HF/H8OXP01Uf/GqlX9uOx/i+HFx+Grr/wDGqAPsOivj9f24tM/i+Hd4Ppqq/wDxupF/bh0X+L4fagPpqSH/ANkoA+vK5T4lf8emif8AYZt/5NXzkv7cHh/+LwDqg+l9Gf8A2Wrvh79p7RPif4x8OeErPwtqGnTz6nHKJpbhHUBFYkYAzTRM/hZ9C0UUVwmIV5F+0d4c8TXk3hLxn4T07+1dQ8Lan9rewBw88TY3bfUjb0969do6GmnZjTseB/E3xT4m+I3wi8XaVZfDbxJpSf2ehja+jAknm81P3ccY5bAyc+1cZ498JeK9K8e6f4kl0rxPc6beeGrSxD6NZ29zNbSJGFeJ0mRgoJycjHXr1r6vyc9aKpTt0HzHy1faX4t8LeAfA2meH/DPidNFH2tr1v7OtrrVbVnfKJh1KRq3XgdPpWJYeB/FTfAJdFvfDGqm6fx/HcyWk9uDIbc/edlUbdvPJA2+nFfYGTS8+9HOPmILS1tbO3W3s7eG2gT7scSBFH0A4qaiioICoL/mxuB/0xf/ANBNT1BqP/IPuf8Ari//AKCaqPxIT2Pmvw9+2L4b8OaJZ+H5vBurTyadCtq8qXUYDlBtJAI6HFaA/be8Kd/BGtD/ALeYq9h+H3w0+Ht/4E0O8vfBegz3E1hFJLLJZIWdioJJOOSTW03wj+GDfe8B+Hj/ANuKf4V2z+JnRHZHgy/tu+EP4vBeuD/tvF/jUi/tt+Cz97wfro/7axf417i3wd+FjdfAPh7/AMAk/wAKjb4L/CdvvfD/AMP/APgGtSM8WX9tjwN/F4U18f8AAov8aev7a3gLv4Y8QD/v1/8AFV7E3wR+Ebdfh74f/wDAQVGfgX8Hz1+Hfh//AMBhQB5Kv7anw9/i8O+IR/wGP/4qnr+2l8OT10HxCP8AtnH/APFV6qfgR8Hj/wA070H/AMB//r0xvgH8G26/D3RPwjI/rQB5iv7aHw176N4iH/bGP/4upF/bO+GB+9pfiIf9u8f/AMXXor/s9/Blv+af6UPpvH/s1Qv+zp8F2/5kPTx9HkH/ALNQBwi/tl/Cs9bDxEP+3VP/AIupPht8QvC/xm+JGqahGupXVlpsEMukWt/GEhiccTOIwSGkDFDuOSAwxiuxf9mz4Kt/zI9qPpPKP/Zqq6z4B8M/C2LQNX8G6OmnWMGreVqKK7NmK6CwliWJOFcRH04NAHoFFFFABRRTJpYoYXmmkSKJFLO7sFVQOpJPQUAPorK8NeI9B8S2k154f1a01S3hlMMkttIHVXABK5HfkVq0AFFFFAHFfGK0tF8JXGtpHMmt2KgaTdWrbLiO4dgsaqw6hmIBU5BGcivU9NS6j062jvpVmulhQTyKuA7gDcQO2TmvOdehl1r4heFtAjYfZrWSTWb4eqw/LCv4yuD/AMAr06gAooooAKKKKACiiigAooooAKKKKACiiigAooooAKKKKACiiigAooooAKKKKACiiigAooooAKKKKACiiigAooooAKKKKACiiigAooooAKKKKACiiigAqK7t7e7t3t7qCKeFxh45UDKw9CDwalooAw9B8H+FtAtL600Xw/p1hbahIZbuGCBVSZiMZZenQVjXOj6p4XJn0FJdS0gEs+mM2ZYB6wMeo/6Zn8D2rtaKUoxkuWSug2d0c5o+qWOr2f2rT5xLGGKuMENGw6qynlWHoau1S8QeGFurw6vo1wNM1gDBmVcx3A7LMn8Y9+o7GqOla4z3w0jWbX+zNWx8sLNmO4A6tC/8Y9uo7ivKxGDdP3oar8V/Xc6ada+ktzboooriNwriviT4d8bavdafqHgnxuPDl1aq6Swz2YuLe5VsYLKejLjgj1rtaKcZOLuJq54QP2fpI/BkWlL4nFxq0/iWHX9Tvprbas8iE5REU/KOeK3Z/g6bx/ifHe60ot/HBQx+VCd9ptXAzk4bnB7cV61RWnt59yeRHI/CTw74i8KeC7XQvEniCDW7i0AignhtfJVIVUKiY7kAdT6111FFZt3dykrBRRRSGFZuu61Z6QkazeZNdTkrbWkC7pp29FX+ZPA7mqN1rV3qV5LpXheGO7uYyVuL2TP2a0PoSPvv/sD8SK2/Dfhuz0eSS7eSS+1Ocfv76fBkf/ZHZF9FHFejh8C371XRduv/AADnqV+kTLsPDd7rE8eoeLPLMaNvt9KjbdDH6GU/8tX/APHR2B610lzpmm3Lh7nT7SZwAu6SFWOPTkVbor0lZJJbHOZraBoLfe0XTT9bVP8ACmHw14cb72gaUfrZx/4Vq0UAY7eFfC7fe8N6OfrYx/8AxNRt4O8It97wtoh+thF/8TW5RQBz7eCPBjfe8JaCfrp8X/xNRnwD4Gbr4N8Pn/uHRf8AxNdJRQBzDfDvwC33vBfh4/8AcOi/+JqNvhr8PW+94H8On/uHRf8AxNdXRQByDfC/4cN97wL4cP8A3Dov8K5/xd4D8FaDPoWpaL4U0bTr1dXgVZ7azSNwCGyAQM816fXJ/Ev/AI9NE/7DNv8AyamtyZ/CyavNf2jvGmreCfh19r0Dy11jUL2HT7OSRcrE8h5fHsBx716VXFfGnwHH8RfAs/h/7abC7WZLmyugu7yZkOVJHp1Brija+pktzjpPAvjHwj4Y1rWbr4n67rX/ABI7w31reAFDN5LFXhI5j2t+lc38B/jFcW/hnwH4c8Q+G9eSLVl+xW2vXThormcE8DJ3EdBuNddp/h341appl9pXi7xD4XNjJpdxaBbK3fzLqR4iiPIzD5QCQTt61Qg+E3iCPwh8KtIN5p5n8Iaglzfne22RRniPjk898VenUq6L/jL4z3nhPWZU1j4d+IINCivVs21dnjEZLNtDhM5Kk9KTxl8bDofjDXPDGm+Btb1+60e2ju5pLNl2CFk3M7E/dwMcc5rzrxd+z7471jVtYZtS8M38d3qv2+HUr1Zjfqm8MIQ3KooHYV6nY/D3WIPiL478RNdWn2XxDosNhaoGO9JEj2kvxgDPpmi0QtExvD37QOm6vq3hxW8H6/Y6L4huBaWWrXKqInuD1QAEkgHjd+NcV4b+Kus+DfF3xRlufDXiLxLp1lrrSTTwSgw6fAMjHzHj/dHpXVW/wf8AEUfw8+GXh1r3TvtPhXWUvr1t7bJEDMSE45PPfFZ2s/Cf4ppd+O7fw74g8O22leMdQkkuUuInaWGFuNysBjcQWBH60/dDQ63xJ8bNNtrnSLHwr4d1PxXf6npq6otvZsqeTbN0Zy3frx7VT1H4/aLF4Z8K65p3h3VtT/4SOee1htINvnxXEWAYyvcliBkH3rm/GH7P97Hqehal4VXw7qh0/RotKuLTxBAzxSeX92VSvIbrW5a/CfXI3+G8oTw7Yt4b1O4vdQg06JoYGEmMCJcHJ45zilaIWieteGr+71TQbPUL/SrjSbqeIPLZTsDJA391iOCas6j/AMg+5/64v/6CanFQaj/yD7n/AK4v/wCgmph8SM3sWvhd/wAk48O/9g2D/wBAFdJXN/C7/knHh3/sGwf+gCukrtn8TOiOyCiiipGFFFFABRRRQAUUUUAFY/jXRI/EnhHVdCkbaL61eFX/ALjEfK31BwfwrYooA888A6tJrXg7TNQuCPtRh8q6A/hnjJSQf99q1btcr4fjj0P4h+KPDSgpFcSJrVop6bZsrKB9JUJP++K6qgAqlrmj6Zr+mS6RrFnHe2NwVE0EmdsgDAgHHUZA471drL8V6FZ+JfD93oeoS3cVtdKFke1mMUoAIPyuOR0oA8h/Y6hit/CvjCCCNIoo/FV2iIgwFACgADsK9yrz34a/B/wh8PdZm1Xw7JrCzTRvHIlzftLG24glip43fKOetehUAFFFYvjnWf8AhH/CGqawqGSW3t2MEY6ySn5Y1HuWKigBnwphTVPEfinxdv8AMSe7XS7M9hBbZDEfWVpP++RXodYXw/0NfDfgvSdEUfPa2yrKf70pGXb8WLH8a3aACiiigAooooAKKKKACiiigAooooAKKKKACiiigAooooAKKKKACiiigAooooAKKKKACiiigAooooAKKKKACiiigAooooAKKKKACiiigAooooAKKKKACiiigAooooAKoa7o+na3Ymz1K3WaPO5Gzh427MrDlWHqKv0U07A1c4aWfVvCreXrLS6lo2cJqSpmW3HpOo6j/poB9QOtdBBLFPAk8EiSxSKGR0YFWB6EEda2GAZSrAEHgg965C+8N3uizSX/AIT2eU7b7jSZG2wyepiP/LJ/b7p9B1rir4ONT3oaP8P+B+RpCq46PVG1RWboWtWerxyCDzIbmAhbm1mXZNA3oy/yPQ9jWlXlSjKD5ZKzOtNNXQUUUVIwoorI1rXYrG5j0+1t5NR1WYZisoCN2P77noif7R/DNXTpyqS5Yq7JlJRV2X9SvrPTbKS8v7mO3t4x80jnAHt7n2rGgtNX8WfNcLc6NoR/5Z/cu7se/eJD6fePtV7RvDE0l7FrHiaeO/1BOYIEB+zWn+4p+83+2efTFdTXr0MLCjq9ZfgvT/M5J1JT8kV9NsbPTbKKysLaK2tohhI41woFWKKK6SAooooAKKKKACiiigAooooAKKKKACuT+Jf/AB6aJ/2Gbf8Ak1dZXKfE/EejWF452xWuqW0sjHoq79pJ9vmpx3In8LJaKO9FcJkFFFFABRRRQAUUUUAFFFFABVfUf+Qfc/8AXF//AEE1Yqjr9wlroV/cyHCxW0jH8FNVD4kJ7Gh8Lv8AknHh3/sGwf8AoArpKxfAlnJp/gvRbGUESQWMKMD2IQZrartl8TOiOyCiiipGFFFFABRRRQAUUUUAFFFFAHnvxVRtL8R+FvFSRjy4rttLvW9IbnAVj7CVY/8Avo1uVZ+IGht4l8FatoccgimurZlgk/55yjmNvwYKfwrnPBWtDXPCemarKyJPcW6mdNw+SUfLIv4MGFAG1RTfMj/56J/30KPMj/56J/30KAHUU3zI/wDnon/fQo8yP/non/fQoAdXLeKI5NY8a+FfDUY3Qm6bVb3uPKt8FAfrK0f/AHya6fzI/wDnon/fQrE+GUS6t4z8U+KfMEkSSpo9kR0CQfNKR9ZXYf8AAKAPQ6KKKACiiigAooooAKKKKACiiigAooooAKKKKACiiigAooooAKKKKACiiigAooooAKKKKACiiigAooooAKKKKACiiigAooooAKKKKACiiigAooooAKKKKACiiigAooooAKKKKACiiigDD8SeG7TWJI7yOWSw1OAfuL6DiRf9luzp6qePpWNaa1d6fex6T4ohjtLqQhbe7jz9muz6KT9x/wDYb8Ca7Wq+pWNnqVlJZX9tFc28ow8ci5BrOrShVVp/eOMnB3iUaRiFUsxAAGST0Arnri11rwmC1ul3rmiDAES/PeWo9s/61Pr8w96fbaJqfiZluPEaPY6Xw0elK/zy+9ww6/7g49c1wRy+fNZvTv8A8A3eIVttRi6lqXiOZrXwwRFZg7ZtXkTMY55WFT/rG/2vuj36V0nhzQdP0K2aKzR3llO6e5mbfNO3952PJ/kO1aMMUUMKQwxpHGgCoiLhVA6AAdKfXowhGnHlgtDnbcneQUUUVQBRRRQAUUUUAFFFFABRRRQAUUUUAFFFFABVTWNPtdW0u5029jElvcxmORfY/wBat0U07aged6bqE+k3SeH/ABFIIr1Pktbp+I75B0ZT034+8vXPI4rerd1LT7HUrRrTULSC6gbrHKgZT+Brmn+H2iBj9ku9bsU/5522pzKg+g3HFRKlCTvexi4SWxY5o5qt/wAK/wBP/wCg74m/8G0v+NH/AAr/AE//AKD3if8A8G0v+NT7CP8AN+AuWXYs80c1W/4V/p//AEHvE/8A4Npf8aP+Ff6f/wBB7xP/AODaX/Gj2Ef5vwDll2LPNHNVv+Ff6f8A9B7xP/4Npf8AGj/hX+n/APQe8T/+DaX/ABo9hH+b8A5ZdizzRzVb/hX+n/8AQe8T/wDg2l/xo/4V/p//AEHvE/8A4Npf8aPYR/m/AOWXYsOyohd2CqBkknAArBgU+NL+K0swW0CCUSXl2OEumU5EMf8AeXIBZunGOcmtq28AeHkkEl4t/qhHRb+9knT/AL5Y7T+IrqYY44YlihjSONRhVUYCj0A7VcIRg7p3Y1Tb3HUUUUzYKKKKACiiigAooooAKKKKACiiigArlrr4c+A7q5lubjwfoks0zmSR2s0JdicknjqTXU0UAcl/wrP4e/8AQl6F/wCASf4Uf8Kz+Hv/AEJehf8AgEn+FdbRQByX/Cs/h7/0Jehf+ASf4Uf8Kz+Hv/Ql6F/4BJ/hXW0UAcl/wrP4e/8AQl6F/wCASf4V0OjaXpui6dHp2k2NtY2cWfLgt4wiLk5OAOOSSa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B//Z">
            <a:extLst>
              <a:ext uri="{FF2B5EF4-FFF2-40B4-BE49-F238E27FC236}">
                <a16:creationId xmlns:a16="http://schemas.microsoft.com/office/drawing/2014/main" id="{1876E805-113B-4E09-A212-5AB6C2EF17E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AutoShape 10" descr="data:image/jpg;base64,%20/9j/4AAQSkZJRgABAQEAYABgAAD/2wBDAAUDBAQEAwUEBAQFBQUGBwwIBwcHBw8LCwkMEQ8SEhEPERETFhwXExQaFRERGCEYGh0dHx8fExciJCIeJBweHx7/2wBDAQUFBQcGBw4ICA4eFBEUHh4eHh4eHh4eHh4eHh4eHh4eHh4eHh4eHh4eHh4eHh4eHh4eHh4eHh4eHh4eHh4eHh7/wAARCAFKA0Q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82+MXxUh+HuqaLZf2RLqQvH86/dJNosbMOkbTtxzhpFGPrzQB6TRWbruv6HoVil9rWr2OnWrkKkt1OsasT0AJPNV9U8XeFtLs7S81LxFpVpbXoBtZZrtEWYHuhJ+YfSgDaorJ13xN4c0FYG1rXdN00XB/c/arlI/M/3dx5rB8WfFDwd4X8U6N4e1jVra3n1aKSaKVpkWKJFXIZyWGA3RSAckGgDtKKRSGUMpBBGQR3paACiiigAooooAKKKKACiiigAorn/AIj+Iz4Q8B614nFp9rOmWj3Ag37fM2jpnnFZfgzxB4vvLc6l4u0PRNE0o2q3CXEOqGUjIBwwZFCjB65oA7SiueTxdoup+H9T1LwzrGkau1jC7ny75PKVwpIEjjOwcdT0HNY+meN7ufxfoWh3drYRxaj4ffVp54bnzUjZWjG1H6MmHJ3ewoA7mis4a9opsbG+GrWJtb90js5vPXZcO33VQ5wxPYDrULeJ/Da6tHpDa9pg1GSVoUtTdJ5rSKASoXOcgEHHvQBr0VkWHijw3f6zNo1jr+mXOpQ5821iukaVMdcqDnirup6lp2lxRy6lfW1nHJIIkeeUIGc5IUE9+Dx7UAWqK5z/AITzwT/Zf9qf8JdoX2HzvI+0fb4/L8z+5uzjPtWlrOvaJo2mDU9X1ewsLE4xcXFwscZz0wxODmgDRorOt9d0W40Q65b6vYS6WELm8S4UwhR1O/OMfjXL6F8Q7HXfiWPDei3Gnajph0X+0Rf2twJMuJvLKfLxjHPrQB3NFZGl+KPDeq6pPpema/pl7fW+fOt4LpHkTHXKg5rXoAKKKKACiiigAoorz7xp408T2PxDtPBvhbw7p+qXU2ltqUkt5fm3VEEvl7RhGyc0Aeg0Vzcni3TdF02xPjTVNF0HUrhAXt5L9dobPRWbaWHvgVJqWvXNv4r0rS7dNNls720nuGke9Cz/ACBSvlxYzIp3csDxx60AdBRXHfDLxvB4o8G6Dq+pNZ6ff6wsxgtBNy5jdgwQHlsBcn0rem8QaFCt60usWEa2EqxXha4UC3dsbVfn5SdwwD6igDTorDPjDwmNJn1c+JNI/s+CYwS3X2xPKSQdULZxu9utaelajYarYRX+mXtve2kozHNBIHRh7EcGgCzRXnWreP8AXb3xdqXhvwJ4Xh12XR9q6pd3V8LWCGVl3CFTtYu+0gnjAyMmuh/4TDTdM0Gxv/GNxY+F7q5X57W+vYwUfPKhs4b6j1oA6SiqQ1bSy9ig1G0LagCbMCZT9owu47OfmwvPHamSa5o0a6g0mrWSLppAvi06gWxKhh5nPy8EHnsaANCisiw8T+G7/RZdbs9e0240yIkSXcdyhhQjrls4FT6Drmja/ZG90PVbLUrYMVMtrOsihvQlT1oA0KKKKACiiigAooooAKKKhv5/stjcXW3d5MTSbc9cDOKAJqK88+BPxLHxL8Ly6lc6V/Y9/A0ZlszN5mIpY1kikBwMhkb06gjtVT4b/FmDxp8QPE3h6HSvsunaPGJbfUXmBW7QSPG7hcfKoeN8HPOKAPTqKxtF8U+HNdluYdD17S9Tnth+9jtrpJCn+9tJwPes/QPGNjJ4X0/VfEmoaHpc94krqsepJLCwQnJSQ4DYABOOlAHU0VxnjH4neDvDPgSTxnNq9rfaUHEcT2c8cnnuWxtQ7gCRySM9Aa1v+Ey8Jjw/H4gbxHpSaVI21LxrtBEzdMBs4Jz2oA3aKzT4g0IabbakdZ08WV0wW3uPtCeXKSCQFbOCcA/kabo3iTw/rVhNqGka3p1/aQErNPb3KOkZHUMQcD8aANSisfQ/FPhrXRc/2Lr+maj9l/1/2a6STyv97B4pmneL/Cmo6lDpun+JNIur2aITRW8N5G8joRncFByRigDborJvfE/hyx1qHRLzXtMt9Tnx5VpLdIsz56YQnJpL7xR4bsdZh0W91/TLbUpseXaS3SLK+emFJzzQBr0VmeKJ9cttIeXw7p9nqGoBl2QXVyYIyM8kuFbHHtXnngH4ieMtfvdSm1bwzoOkaPpGpTafqV42sEmJ4lBZlBjAK/MvJI70AerUVlaH4l8Pa5ZzXmja5p2oW0BImltrlJFjOM/MQeOPWuX8c/ErSNM+Hes+KfC9/pevPpjQo8cN0HQM8qJhihOOGJ/CgDvaKpQarps2pyaVHfWzajFCs8tqsoMsaNwGK9QCehq7QAUUUUAFFFFABRRRQAUVwXxf8W+LPBmiXviDSPDmm6rpOn2T3V28+oNBKNmSVVQjA8D1FO8O+N7230VdW+ISeHvC9tcpG9k39rB/NDLk53qmCMjpnrQB3dFZV/4k8P6fosetX2uadbaZKAY7uS5RYnB6YYnBz7Vi3njOP/hNfC2j6b9kvdP122u7gXkcu4AQqhXaRwQdx/KgDr6Kp6Rqmm6vaG70q/tr63DtH5tvKHTcpwwyOMg8GvPPAvjvxx4uvZ7qw8JaTHoUGqz2ElzJqrCfbDIUZxH5eM8ZA3UAen0Vj2/inw1casukwa/pcuoO0irapdIZS0f+sG3Ocrg59MUuj+KPDes309hpOvaZf3dv/robe6SR4+3IByKANeisOXxj4Tj1K402TxNo6XtsVE9ubyMSRliAAy5yMkgfUitBNU02S4vbdL+2aaxCm7jEoLQAruG8fw5HPPagC5RWRfeJ/DljokOt3mvabb6ZOqtDdyXKLFIG5BVicHPtUj+INBTTrbUm1nT1srpgtvcG5QRysQSArZwTgH8jQBp0Vm6F4g0PXrKS90TWLDUraNikktrcLIiMOoJU8GqVp428H3cM81r4p0WeO3lSGZo72NhHI7bVViDwSxwPU0Ab9FVZtS0+HU4NMlvbdL64RpIbdpAJJFXG5lXqQMjJ96tUAFFFFABRRRQAUUUUAFFFFABRRRQAV4FNovi74heKviDqlha6E2jXkTeGbf8AtUTK/kxKfNeMKPutK7HPcoPSvfaAABwAKAPmNtUju/Afg7VfEuvyaD4y8MC803fe6W95aXMsWIpEkUL1dVQqwIY5OM1a8Y62E0/w347nSHw94vPh3YPD15o8lzaXsbPv+zphcxyFlGMHcAwyMV9I7F/ur1z070FVJGQDjpx0oA+ZvF51KL4rajrHirWovCNpq+hWK2IvNDXUIlHlnz7YORiNhISSv8WQe1XbnT9E8FyfCDVLy8uNT8O6dBfWkmpz6c+797HmEPHtLIMgqoI44r6MZVYYZQR7ilIDDBAI96AERlZFZfukZHHaloooAKKKKACiiigAooooAKKKKAOC/aHjkm+B/jGKKN5HbSpgqopLE47AVzWuaRc+C/g5fa3ZTa14mnOm24NhrE73tvGCU3P5OMnYCWwOSFxXsRAIwRkUUAfLnhiWXUPF3j+6t9ZGv283gV41vbbRTYQyOGk+RVAxIRnGeTzjtXV+E7C6uPEHge3WCRWf4cyQZZCArnyAAfQ+1e7hVAwFAGMdKAo44HHA4oA+WtI8QWV74F+E/g2C11M61ofiCxj1SBrCVRZmMuh8xiu0ZJGME5HNeheDPDaz6n8W9SsdNiTxBc6tPDZXkkeJARaR+VtYjgBmPI7k17HtXJ+UcnPSlAAzgAZ60AfLHwk0mwvJPAml6l42a11jRLmOU6MnhnyLqK4VGWRJJgMlTlsuThuDXrH7Q+l2+s6b4P0+8she2kviywFxCyFlZPnzuH931zxXp21dxbaMnqcc0EA4yM80AeIWHg/QJfjv8QWl8N2TQHw9ZrGGtB5eXWUPtGNuSFUHHPArkPCVxb6Tpnwi8ReOrO4m8O2nh65tRLNaPNHZ3paMRPIoBK/uldQxHH419P4Gc4GaQqpXaVG30xxQB8uapp32rwv4p8Rafot4fAV34x0/UDYpaOn2iyjCi6lWDAby2kAbGPmCk45rXBsPEnxN8Xaj8NtPkt/t/gWe2tL6Kza2iubsOQpQsBkrlRux274r6N7Y7UgVVxhQPoKAPmT4RabpOoax4Ghk8bFNS0Mhk0eLwz9kuIXERWSKaQDheuSeGIB5r6cpAqhiwUAnqcUtABRRRQAUUUUAFePeM/Dr+IP2jdPjbUdb0yKPwrIftGm3LQMW+1D5S4HI74r2GjAznAz60AfPfxf1CbS/Edz4Xn1CPS7aLQUFvqV5oh1S81hmMgaAORjK4GR1JfPSovhpb3n9qfBhpoLgNF4NvUkLo2UbZAAGz0PHQ19EEAkEgEjp7UBV4+UcdOOlAHzL4YlXw34S+DfizWIbqDStLn1GC+mFu7m2MwkWNnVQSFJGM47iqOrvH4l8G/GW9t7C+ax1PX9OaFZrV4nmixApYKQGwQDz6V9UbV27dox6Y4oKqc/KOevFAHgvx20RtE8XeB76wmg8O+GLBLqKW5j0hby3tbhkQRM8OMDKqyiQj5fbNdd+z5penWGi63eaX4mfX4dR1R7l5V042cKSFFDCKPGNpwCSOCc+9emkAjBAI9KAABgAAUAeH+FPEWnfC7x7450zxp9qsLfWdYbV9Mv/ALLJLDcxyRopTcinDqykbTz0xVb4l+NUv/E+iPF5Ph3Sr/SJJ4dY1Dw493cTt5m37IsbD5CR8+Dy2RgV7wyqw+ZQfqKCAcZAODkZoA+Z/CFwfDXw9+DHibW4b2HTdIur6K+l+yOWthLHNHGzoASi5wOnGRUkT6B4os/ivf6tPq+kaPf69p81tff2dIWQpBCY5miKktFuQE7hgg84r6UKqV2lQR6Yo2jngc9eOtAHy74p1HxN4q+GlrdNHB/ZejeLoDc6tp+jMYb60RM/ajaN99VdgGHIO3I4FeifAmx0ybxV4i8Raf42XxHLeW9tDcrb6P8AYbdShfY3A2u+CQSOQMZ7V6+AAMAAD0pFVVGFUAegFAC0UUUAFFFFABRRRQAVT10E6HfgAkm2kwB/umrlFAHylbL4m8F+BPAGv+FtMupr7xT4UtfDlwiIf9Hu/LBtrhx22hpAc+1dTZ6PL4H8Z+L7HR9BOsR6V8P7OG3tGiJS9kR59yHj5ixySOp3e9fQe1cAYGB0pcDOcDPrQB80/C7UJNW+M/hy+i1qDVV/4R+9WcWWgGwgs2PkkQbsfOQQflPK496b4N0ODUtK+BtpqulfabeG41OWSKeElUYK5QsCMdcEZ719LhVHRQPwoCrx8o46cdKAPm3x5oL/APCEfGvTtM0ljCmqW13BbQ25Iz5MDytGoHU4Ynb71J8TNRtNV8V+BvF+ka0uleE47G7gTUm0Q3VvbXRKffiYDYWUMocjsRnmvo/A54HPWk2rt27Rt9McUAfOD+F9Hn8BeHbKHUz4p0vU/H0N3Of7NNrAAwO9EixgR7hnj5SWNa/iGKTwz49+KV5ofhaHUE/4RmxnXThbfuLqQGZTlFGGwoGQOSBiveNq4AwMDpx0pcDOcDPrQB80fDi8k1L4vi8g1yLW4T4Ru45JrPQjYW8T+ZERCDj94Rz15X8TU/hbwzp2n/Bz4RX1nokdtqKa/YTSzJb7ZgZGcSFmxuwQcHPGMV9HhVHRQPwo2rgDaMDpxQB4H4Vv/CGi+KvGOh+PNFkuvEWo+JXuLYSaW9w15AxT7M0TBSNqAeo24J4ri9V0eObU/HHhrxh4z/4R+41TXbmYQSeG/tM9zAzg28kNwAWbCBAMfcK4r6w2rkNtGR0OKCqkhioJHQ46UAQ6fGYbC3haV5ikSqZHGGfA6n3NeBRX+o6D8NPiZf2+gxalJ/wmdwfKu7Rp4kjZoAZzGBmRUGXwOu2voSkwADwOaAPmPwnHpus+IPiH/a2vXesaHe+F4IbnUtO0NrION8obykUHzCoP3gD6dqi1nVtQ1b4MeOtBtZLTW7Cwh09LLXbHSmtTdEzpmNo8YZ4woJK/L83QHNfUIVV+6oH0FG1du3aNvpjigDyX4Ewv4f17xH4V8Q2jt4rNwb6fV3Qn+2bdziOYN0XaPkMY4XHAwa9bpMDO7Az60tABRRRQAUUUUAFFFFAHCftCRyTfA7xpFDG8kjaNchURSSTsPAA61w3xG1y40uTwVp8z2Oh2c2jF21260Y37RyKsYFqi4wrODnnrtwK90IBGCMikKqQAVBA9qAPlzw5a6bH8FvCF9q3iCfw/qGm61qU+mXV3ozSW5YzSqUmgxiMMjfKOCP4at+NYPGXj7R/AUmm2f9gazd6TquYIYmhikUbP3eThoVmUcHhlD19MFVIwVBHpilwM5wM0Acl8INU0XVfh/pr6FpLaLbWyG1fTWiMbWcsfyvER3IPfv17159+z34SaTT9R1ubWfElo6eJdRcWKXrR2rgXD4zFjBB/WvbgAM4AGaAAOgAoA+fvDvhW4ufhb8V59C0oJ4lv9a1lLecR7Z3O5lUIx5GVJAxxz71mfCTTtL1TxL4Okh8dh9S0W2kEWkweGvsUkWYdjxTuBwAecN1IBFfSgAHQAUgVQSQoBPU460AfH93d+Frb4NaR4XvtDnXxvYeI7d9QZ9NcSwzG/XfO8xXG11IAO47twH09I1rxBY+D/AIlfE211q31FZvEFjayaSsFlJN9sK2zRMiFQQWDdQcYBzXr3jPwzpvizRf7J1Qzrb/aILgmFwrF4ZFkTnB43KM+1bZAJBwMjoaAPlV7TUtP0T4R6tqGqNoOkWvhc2xvZ9I+3RWt2yx4Dxn/VlkDAOfQjvWyfCujS+BfCthBqR8U6VqPj+K7nZtNNtBhw5dVixgRbhn+6cmvpAqpXaVBHpjijauAMDA6cdKAPnf4i+HtR/t/4u6b4R02WCa98Mae8cNmnliZw0ocLjA3mNdvHPSt60tvhx8S/Aep+GPCemrbXp0RYfPTTHtzaspBjjZ2QfOsiqdvJGCa9rwM5wM+tNeMNG6KSm4H5l4IJ7/WgDxP9njUNR8eeINQ+IWsW0kEllYQ+H7eOUcrNF814w+suBn0Svbqw/AvhfS/Bvhm30DSPPa2hZ3Mk775ZXdy7u7YGWLMSeK3KACiiigAooooAKKKKACjvRRQAUUUUAFFFFABRRRQAUUUUAFFFFABRRRQAUUUUAFFFFABRRRQAUUUUAFFFFABRRRQAUUUUAFFFFABRRRQAUUUUAFFFFABRRRQAUUUUAFFFFABRRWN4k8R2Oi+XAyyXd/PkW1lAN0sp9cfwr6scAU0gbNS7uLe0t3uLqeKCFBl5JGCqo9yelSRusiB0YMrDKsDkEetcRFot5rNwmoeLGiuCpDQaah3W1ufU5/1r/wC0eB2FJHY6p4YkM3h1TeaZnMmku+NnPJgY/d/3Dwe2KwWJoufJza/gVyTS5rHc0Vm+H9c07XbM3GnzFtjbJYnXbJC/dXU8qfrWlW7TW5NwooopAFFFFABRRRQAUUUUAFFFFABRRRQAUUUUAFFFNkdY42kkYKigszE4AA70AOrNvPEGhWUhjvNa063cdVluUUj8Ca42e5vvGTNcSXFxZ+HiSLe3iYxyXq/89JGHIQ9lGMjk+lXrHRdHsYhFZ6XZQIOgWFf54yaUpwg7PcydR9Dc/wCEs8Lf9DJo/wD4Gx/40f8ACWeFv+hk0f8A8DY/8azPsdn/AM+lv/36X/Cj7HZ/8+lv/wB+l/wqfbQ7MXPI0/8AhLPC3/QyaP8A+Bsf+NH/AAlnhb/oZNH/APA2P/Gsz7HZ/wDPpb/9+l/wo+x2f/Ppb/8Afpf8KPbQ7MOeRp/8JZ4W/wChk0f/AMDY/wDGj/hLPC3/AEMmj/8AgbH/AI1mfY7P/n0t/wDv0v8AhR9js/8An0t/+/S/4Ue2h2Yc8jT/AOEs8Lf9DJo//gbH/jR/wlnhb/oZNH/8DY/8azPsdn/z6W//AH6X/Cj7HZ/8+lv/AN+l/wAKPbQ7MOeR0Gn6vpWoNtsNTsrs4ziGdXP6GrtcJqHh7RL/AAbjTLcSKcpLGvlyIfVXXBB/GpdB1bUNE1W30fWrp76xu28uxv5MeYknUQynuSM7W74weetxlGfw7jVTXU7aiiig1CiiigAooooAKKKKACiiigAooooAKKKKACiiigAooooAKKKKACiiigAooooAKKKKACiiigAooooAKKKKACiiigAooooAKKKKACiiigAooooAKKKKACiiigAooooAKKKKACiiigAooooAKKKKACiiigAooooAKKKKACiiigAooooAKKKKACiiigAoJwM1R1vVtP0Wwe+1K5S3hXgE8lmPRVA5Zj2A5rlJ49X8V5OprNpWiH7tirbbi6X1mYfcX/YHPqe1TOcaceabsgSbdkWtS8TXeqXEmm+E1jlKMUuNTkGbeA9wn/PV/YcDue1S6FolppRlmVpbm+uMG5vJzummI9T2HoowB6VoWtvBa28dtbQxwwxqFSNFCqo9ABUleTiMXKr7q0j/AFudVOio6vcKKKK5DYxtZ0Jbq7XVNOuX03V41CpdxDO9Qc7JF6OvseR2IqxofihmvU0fxDbppuqNkRENmC6A7xOe/wDsH5h79a0aq6rp9lqlk9lqFulxA/VWHQ9iD1BHqORXdh8a4LlnqvxX9djCpRvrHc6CiuJg1DV/Cnyag1xrGhjpcgb7q0Ho4HMiD+8PmHcHrXX2N5a31nFeWVxFcW8q7o5I2DKw9iK9SLUlzRd0c2qdmT0UUUwCiiigAooooAKKKKACiiigAooooAK5b4nsz+GBp6O0f9o3UNmzKcEI7jfj/gIYfjXU1ynxL/49NE/7DNv/ACaqi7O5E/hY9I0jjWONQiKAqqOgA6ClFLRXAZBRRRQAUUUUAFFFFABRRRQAVl+LLNb7w5fwY+cQtJE3dZE+ZGHuGANalQah/wAeFz/1xf8A9BNXTbU00J7G74av/wC1PD2nan3urWOY49WUE1oVznwv/wCSc+Hf+wdB/wCgCujrrluzoWwUUUUhhRRRQAUUUUAFFFFABRRRQAUUVHdXFvaW0lzdTRwQRKXkkkYKqKOpJPAFAElcZ4x8dR6dqDeH/Dtn/bniMpu+yo+2K1U9HuJOka+3LHsO9Yl94o1vxwzWvhCWXSfD5ysuutHia5GeVtUYcA/89WGP7oPWtbw5oWl+HtP+w6TaiGIsZJGLFpJnPV3c8ux7kmgDKsfGPiPwpJt+IAtr3S5SCNa0+ApHasx+5PFyVQZwJBkY+9jrXpNtNDcwR3FvNHNDIoZJI2DKwPQgjgiucZVZSrKGUjBBGQR6GuRi0nWvBc733ghFutMZi9z4fmk2x8nJa2c/6puvyH5D/s9aAPVaKw/B3irR/FVi9xpkzrNC3l3VpOhjuLaTukiHlT+h6gkVuUAFFFFABRRRQAUUUUAFFFFABRRRQAUUUUAFFFFABRRRQAUUUUAFFFFABRRRQAUUUUAFFFFABRRRQAUUUUAFFFFABRRRQAUUUUAFFFFABRRRQAUUUUAFFFFABRRRQAUUUy4mit4XmnkSKJAWd3bCqPUk0APrnfEXidLK6/srSrY6nrDLkW6NhIR/elfoi/qewrMuda1TxOTB4deTT9KyRJqjJiSYdxAp7f8ATQ8egPWtLRdKsNHtDbWMHlqzF5GJLPIx6s7HlifU1z18TCjpu/63/wAi4U3P0KGmaHJ/aA1jXboanqoz5blcQ2wPVYk/h/3jlj69q3KKK8epVlUlzSZ1xgoqyCiiioKCiiigAooooAK5+40a80q8k1TwtJHBLIS9xp8hxbXR9f8Apm/+0OPUGugorWjXnRd4sicFNakfhvxHZ60ZLfy5LPUYP+Piyn4ljPr/ALS+jDINbVctrui2mrCKSRpLe8gyba7gbbNCfVT6eoOQe4qGw8SXmkTx6d4s8tA7BLfVI12wTHsJB/yyf6/Kex7V7NCvCv8ADo+3+RyTg4b7HX0UAggEcg0VqSFFFFABRRRQAUUUUAFFFFABXKfEv/j00T/sM2/8mrq65T4l/wDHpon/AGGbf+TU0RU+FktFFFcJkFIzKqszsqqoyWY4AHqTS14h+1LLcalqXgLwNJqE1ho/iPWPJ1OSJ9hkjXbiMt2BJ/lTSuxpXPX5Nc0WPT59Rk1jT1srf/XXH2lPLj/3mzgfjV2GSOaFJoZFkjdQyOpyGB6EHuK8F+OPwy8F+B/gl401Dwto/wDZclxpsdvMkcrlHUTIQSpJ+b3rG8X/ABi8QaFfaN4M8M3Wj6U1l4ftbq6vdSs57kSu0SlYkSJWI4x8x4qlG+w7XPpaivANR+Lviq++GPhjxHa6l4Z8KX2omdLyPVreeV3eNto8iFFLsDySccZFZifHLxlc/A+z8WWdppL64vidNFmHlMLe4U5+ZVPKZ469PSjkYcrPpKisTwTH4oj8Owr4yuNMuNY3MZn09GSHaT8oAbnIGAT3rbqCQqvqP/IPuf8Ari//AKCasVX1H/kH3P8A1xf/ANBNVD4kJ7Fv4Yf8k58O/wDYOg/9AFdHXOfDD/knPh3/ALB0H/oAro67Z/EzojsgoooqRhRRRQAUUUUAFFFFABRRXD+L/Gl5HrE3hbwjYrf65GiNdTT5W009XGVaVurMRyI15Pcgc0AbXjLxZo/hW0il1KSSS4uG8u0srdPMuLp/7saDk+54A7kVxD6PrPjG6j1HxyqQ2CMHtfD0Um+FCDlXuGH+uf8A2fuD0J5q/wCGvDEGl3kur393Nq+vXC7bjUrkDeVznZGo4jjHZF/HJ5roKAEACgKoAAGAAMACloooAKKKKAOe8SeGItSvY9Z0y8l0bX4F2walbqCxXOfLlU8Sxn+634EHmrvhfx1KNTh8OeMrWLSNakJW2lRibTUMd4XPRvWNvmHbcOa1Kpa5pOm65pkumatZxXlpKPnjkGRnsR3BHYjkUAdnRXllvrevfD2Nv7Ylu9f8KRgn7aRvvdOT/pqOs0Y/vj5wOoPWvTrS4gu7SG6tpVlgmRZI3U5DKRkEfUUAS0UUUAFFFFABRRRQAUUUUAFFFFABRRRQAUUUUAFFFFABRRRQAUUUUAFFFFABRRRQAUUUUAFFFFABRRRQAUUUUAFFFFABRRRQAUUUUAFFFFABRRWR4l8T+HfDVq114g1zTtLhA3Frq4WPj2yeaANeivnnxx+138LdCEsWjNf+IrlMhRaw+XET/vvjj3ANeNav+1L8Y/HUzad8PfCa2JclQ1naveTjP+0RtB/4DQB9peLfE2keGLBbrVbkRmQ7YYgR5kzeij+Z6Dua43w/eWnxBabUL3VtP1CytJ/L/suxuVmghkGCPOdeJHxg4+6PfrXyvB+z7+0F8ULyHUPH2uNZR4JVtTvDI8YPULEmQv04r3H4G/DZfgONT03VNWub6w1WaNo9Q8sLbRuoIw45MbHOMklTgcis6/P7N+z3/H5Dhy83vbHtYAAAUAAcADtS0gIZQykEEZBHQilrwDvCsP4g6ldaP4D1/VrF1S7stNuLiBmUMFdIyykg8HkdK3KwfiJp93q3gDxDpdhF5t3d6ZcQQR5A3O0bBRk8Dk1ULcyuJ7GB8JvGE2qfBHRfGviu+gjkk037Xf3JURooGdzYHA4HaqvgT41+A/GWurouk3WoRXksD3FsLyyeBbqNRlmjLD5hjmvMPDPhv4pa18DZvg/rXgM6DCujtbw6w+qRSK8yMHRWjXJAYjaTk4Gah+FPw98cQeKtDutf8G6tZXehWM0Vnqd94nF3bxS+UVXy4AMhC2OM4Aro9lD3m3+KM+aWh6X4e+PHw/1zxJZ6DbSavb3F/IYrKW702SGK5cfwozDkntV5PjJ4Jf4ey+OBcXv9mRX39nvH9mP2gXG8J5fl9c5IP0rwvRPh/wDGrUvGHg6+8WaPqtw+j67HdX17c69HNA6Bj88NuMCMAemSfSuhm+EfjBvjlLYLYJ/wrqfxEniWWYSrzOsZPlbM5/1h9MVTpUr7/iJTkekeK/jr8PPDPiCfRNSvb9p7Uot7Lb2MksNmzYwsrqMKeeR2qz4u+M3gbw14gh0O6ub+9u5IIrhv7PsnuEhik+47svABBB+hrxPxX8KPH1j4v8Z29v4X1bxJoniO/ku0ax8TLYQlX6pPEQd2On0FanxJ+H/xCHiTTG+H/gyfSNRs7GztIPENrryohjRFDRXELD96FIIBxyAOvSj2VLTX8UHNI+nAQQCOhGRS1HaiZbaJbhleYIokZRgFscke2c1JXGbBUdzBDc28lvcQxzQyKVeN1DKwPYg9akqO5nhtreS4uZo4YY13PI7BVUepJ6U1e+gnbqYEEWr+FTu0lZtU0UH5tPZt09svrCx+8v8AsH8D2rlfG37Snwu8Iawmlarf6g9w0KzHyLNnCg5+VuhVgQcqRkV1UEur+Kzt0tp9K0U/ev2XbPcj0hU/dU/3z+A71j+J/wBn/wCE/iS/W/1jwstxdCMRmUXUqswGeWwwy2Sck8mvoKXtOT978X9b+f8ATOCXLze5t/WxyQ/a7+DR63+sD66c3+NPX9rj4MH/AJimqj66dJWi/wCy18E2/wCZUkX6X83/AMVUT/sqfBVv+Zcul+l/L/8AFVQFdf2tPguf+YzqQ+unSf4U9f2sPgqf+Y9fD66dL/hSN+yd8F2/5gd+v01CT/Gom/ZI+DDf8wrVB9NRegC0v7VnwUP/ADMl0Prp03/xNPX9qj4Jt/zNE4+unz//ABNZrfsh/Bo9LHWV+mot/hSL+yD8Gwcm01th6HUT/hQBsL+1F8E2/wCZtYfWxm/+JqVf2nPgo3/M4oPrZzf/ABFYEn7IHwdZSFt9cjPquoHj8xULfsd/CMnKtr49vtw/+JoA6pf2lvgo3/M7W4+ttN/8RVLVPjN8NPGmp6BofhnxVbahqMmrQukCxSKSqhiT8ygcCubl/Y2+FLfduvEMf0u1P80qKz/Zu8DfDfxT4e8VaFfazLew6pHGqXMyNHh1YHgKD+tNEz+Fnt1FFFcJiFcn8UPAOg/ETw8uj66s8fkyie1urd9k1tKOjo1dZXLfEL4geE/AVnBc+JtUW1Nw223gRGkmmPfai8n69KavfQaOOPwShuvDmtaTrfjzxTrcmq2a2X2i9nD/AGeIOr/InTJKjJPNWfFHwa0/VNT0/WNH8T674b1e00+PT5LzTpFBuoYwAokUjBIx1rofh18SvCfj6W8g8O3dy9zZBWuLe5tXglRWztO1hyDg9K7HB9DT5pId2eVa/wDBez1W08POvjPxNa6xoSSxw6us6vcypKcuHJGPpjoKgtvgToNv4HXwmmuarJbL4gXXfPl2vKZV/gJ7g9z1r0/XNV03QtLn1TWb6DT7G3AM1xcPsSME4GT25IFWbeSO4hjmhYSRyoHjZeQykZBHsRRzMLsfRQetFSSFQX+PsNxnp5L/APoJqeoNQ/5B9z/1xf8A9BNVH4kJ7Hx9pvhT9rSbT4Ljw/q2qrpEiBrFU1SFQsJ+4AC2Rxjipz4X/bNTpqmtH/uJwH+tfYfwu/5Jx4d/7BsH/oArpK7Z/Ezojsj4W/sL9tBP+Yhrp/7frc/1pP7M/bRT/l515v8At6tj/WvuqipGfCht/wBtJP49fP8A21tj/Wkz+2kn8HiA/jan+tfdlFAHwn9q/bSX/lj4gP8A2ztTS/2p+2gn/Lp4gP8A262x/pX3XRQB8KHxB+2dH10/xAf+4fAf6U3/AISz9sqPrpmvH/uEwn/2Wvu2igD4RPjr9sWPrpOun/uCRH/2SvSf2etV+J8nimXVfijDdWtzr2+yijubNbYmS2QSIwUAA5R5Bn/YxX1LXD/G2xaXwQ+tQRs13oFxHq0G37xEJzIo+sZkH40AaVFRWtxDd2sN3bOJIJ41kjYdGVhkH8jUtABRRWN401PVtI8O3F7oehya5qIKpBZJKI97McZZjwqjqT6CgDZory34U/EvX/EfjvXPBPizwxbaNq+lW6XBazvPtELIxGAT2bkfrXqVABRRRQByXxSzeaDbeGYZmiuPEN7FpqlfvCNjumI+kSvXqEEUcEEcEKBI41CIo6AAYArzjRUj1z4xuzR74fDOncMeguro9vcRJ/5Er0qgAooooAKKKKACiiigAooooAKKKKACiiigAooooAKKKKACiiigAooooAKKKKACiiigAooooAKKKKACiiigAooooAKKKKACiivIPH37SPwl8Hzy2lz4h/tO9jJV7bTYzMysDggtwoP1NAHr9Br4r8WftneINUuXsPh/4JVHfiKW8LTyk+ojTj9TXOp4b/at+L8bPqV3qmmaZMeVuphYQEHsI1wzD8DQB9feOfi38OfBcLt4g8W6bbyr/wAu8colmJ9NiZNeD+O/21fDNmGg8G+Gb7VZe0964t4vwUZY/pVDwP8AsT6fGEuPGvi6e6lzue306PYp9vMfJP5CvevA3wP+Fvg3ypNG8H6ebmMcXV0n2ibPrufOD9MUAfKEnxN/ag+LVwYvC2mX+l2L8A6da/Z4gPeaTk/gfwrV8M/se+OvEd62pfETxlFbSSHdII3a8uGPu7EKPzNfbyqqqFVQoHQAcCloA8P8Cfss/CTwyiPdaPLr90OTNqUu8Z9kXCj8jXsmkaVpmj2SWWk6faWFsgwsNtCsaD8FGKuUUAFMnijnheGaNJI3Uq6OMhgeoI70+igDirjQ9T8MsZ/Dqvf6V1fSmb54R3MDH/0WePQjpWjourWOsWn2qwm3qDtkRlKvE3dXU8qR6GukrnvEPhmO+u/7V0u4OmawoAFzGuVmA6JKnR1/UdjXPXwsK2uz/rf/ADLhUcPQt0Vh6Zrki366Pr1qNN1Uj5F3ZhufeJ/4v904YenetyvHqU5U5cslqdcZqSugoooqCgooooAKKKKACiiufn1i91a8k0zwrHHPJG2251CUZtrY9wP+ej/7I4HcitaNGdaVooidRQV2Tat4n0iwun09Lhb3VFZVGn2rCS4LMMjKA/KMc5bAA70un+GrzVriPUfFhjk2EPBpcbbreAg5DOf+Wr+5+Udh3r5M+N3wb+LHw18bXfxU8DeItS1tnkae7uYxi7iz94PGOJI+OwwB1HGa9N/Z8/ao0Hxibfw/458jQtfYiNLgnba3LfU/6tj6Hj0PavYoUI0Vdb9/8jknNzeux9KjgUUisGUMpBBGQR3pa2JCiiigAooooAKKKKACiiigArk/iX/x66J/2Gbf+TV1lcn8S/8Aj10T/sM2/wDJqaIn8LJqKKK4TIDXz54svLLRv2thqHimW1torjw55Xhy6v8A/j1iuR94EngHOc9+fcV9B1keKfDPh7xTp4sPEejWWq2ytuWO5iDhT6jPQ/Sqi7DTPnuX4ieMdW0H4s6Trd14abUNB0JZINU8Oh03F8nAkLZOPwwc1W1NE0P4ReFLzWvG3jrUNY8ZNbTBLfVUtgX8rPliVxthjwwyeSSBXvekfDrwLpGjX+j6X4V0u0sNRj8q9hihwJ0/uuepH41a1jwX4T1jw5a+HNU8P2F5pFoqLbWksW5IQowu3uMDiq5kVzI+RrybVdd+A/xP03U9d1m4tvDmp28likuqrdthjtaOSZRiVOc8YGQD2rovHN9e6Lo3w58F+HPFWtXuharby3V3cpr0cE8swVT5AumBVFXPC/hX0lpHgPwZpGmahpmmeGdMtLHUUCXlvHABHOoGAGXoeKrv8NvAMnhiPwzJ4S0p9HilM0do0AKJIerDuCfXNHOg5kcl+zLJ4oHhnWLLxHqa6jFa6iU0931OO+mjhKg+XLLHwWHvjrXrNZHhXwz4f8K6adN8N6PZ6VZlzI0VtHtVmIxuPqeOta9Q3dksKg1D/jwuf+uL/wDoJqeoNQ/48Ln/AK4v/wCgmnH4kS9iz8Lv+SceHf8AsGwf+gCukrm/hd/yTjw7/wBg2D/0AV0lds/iZ0R2QUUUVIwooooAKKKKACiiigApk8Uc8EkEyB45FKOp6EEYIp9FAHlvwtaa10G58OXQIuPD97Lppz/FEp3Qt+MTJXWVzusRSaN8YhIGAs/Eem9PS6tj/NonH/fuuioAK5T4tXul2XgLUf7b0fVtX0y4C211baZGzzmNzgsApBwO5BzXV0AkdOKAPmv9mbSprL4s+IbrwdouvaV4AnslyusQlZJLoEY2FvmIA3dSf5V9KUEk9STRQAU2WSOGJ5ZWCxopZ2PYAZJp1cp8U3mm8Lf2FaTGK7125i0uFh1USnEjD6Rhz+FAGx8E7e4k8ISeILyPZda/eS6kykcrG5AhX8IlSu5qGytobOygs7dAkMEaxxqOyqMAfkKmoAKKKKACiiigAooooAKKKKACiiigArG8UeILfQI7RprS8u5LufyIYrZAzltrN3IGMKa2a474j/8AIT8Lf9hNv/SeWtKUVKVmRNtRuh//AAm5/wChV8Q/9+Y//i6P+E3P/Qq+If8AvzH/APF0UV0+yh2MueXcP+E3P/Qq+If+/Mf/AMXR/wAJuf8AoVfEP/fmP/4uiij2UOwc8u4f8Juf+hV8Q/8AfmP/AOLo/wCE3P8A0KviH/vzH/8AF0UUeyh2Dnl3D/hNz/0KviH/AL8x/wDxdH/Cbn/oVfEP/fmP/wCLooo9lDsHPLuR3Pj+G1ga4uvDevwQJy8jQR4Qepw/SuyHIrzfxz/yKOp/9cD/ADFejr90fSsa0IxSaLpybbTFooorA1CiiigAooooAKKKKACsDxb4iGkLFZWMIvdYuwRa2oOB7yOf4Yx3P4Dmjxb4iGkLFZ2UIvdXu8i1tQcfV3P8MY7n8BzWVoWkmxaa9vLg3uq3ZDXV0wwW9EUfwovQL+J5pTmqauy6dN1HZbFJNB1iVfNvPGmvfaH+aQW0kccQY9QilCQvpyad/wAI9qH/AEOnif8A8CIv/jdb9Fcn1ur3/I6/q1LsYH/CPah/0Onif/wIi/8AjdeQN+yh8O7rXL/VdU1HXb17u4efy/OSNULHJHC88k+le/UVLxNR7saw9NbI8/8ACnwq0bwhamLwlqV/pDgfK8ccByR03ny9zD2JrvfCPiKTUJZNJ1aFLTWrZcyxKfkmTtLET1U/mp4NPrM1/SI9Uiikjme0v7ZvMtLuMfPC/wDVT0KngitqWJbdqn39jKphla8Nzs6K5zwj4ik1CWTSdWiS01q2XMsSn5Jk7SxE9UP5qeDXR10tWOVMKKKKQBRRRQAUUUUAFFFFAFLW9J0/WrBrHUrVLiFiGAbgqw6MpHKkdiOa5OZtX8J/LqLT6toi/dvQu64th6SqPvqP74GR3Heu5oPPWpnCNSPLNXQJtO6MS1uILq3jubWaOeGRdySRsGVh6gipax9S8M3el3MmpeE2jhZ2L3GmSHFvcEnkr/zzf3HB7jvUmh63aaqZYVSW1voOLizuF2zRH3HcejDIPrXk4jCSpe8tV/W51U6ylo9zUooorkNgqrquo2Wl2T3moXCW8C/xN3PYAdST2A5NUNZ1xba8XS9Ntm1LV5BlLWI4EY/vyt0Rfc8nsDVnQ/C7LeprHiC4XUdUXmIAYgtPaJD3/wBo/MfbpXdh8E5+9PRfi/67mFSslpHczrfT9Y8VYk1FbjR9EOCtqDsubsf9NCP9Wh/uj5j3I6V2FhZ2thZxWdlbxW9vEoWOKNQqqB2AFT0V6kUox5YqyObd3e4V88ftB/sv+GfHouNc8KiHQPEbAu2xcW123+2o+6x/vD8Qa+h6KYHwT8O/jP8AE/4B+IU8E/ErS72/0aJgqRztulhjHG63l6On+yTj0xX2l8PPHXhfx/oEet+FdWhv7ZwN6g4khb+66HlT9ab8RvAfhb4g6BJovirSob63IPluRiSFsfeR+qmvi34hfBz4ofs++IX8a/DfVb2/0WM5eWFcyRJ12XEQ4dP9oDH0oA++KK+ev2fP2nvDPxAEGieJ/I8P+I2wqq74trpv+mbH7rH+6fwJr6FoAKKKKACiiigAooooAK5P4l/8euif9hm3/k1dZXLfFBHXwx/aCRtJ/Z11DeMqjJKI434/4CWP4VUVd2IqfCx9FNjdJI1kjYOjgMrDoQehp1cBkFFFFABRRRQAUUUUAFFFFABUGof8eFz/ANcX/wDQTU9ZXiy8Fj4cvp/4zC0cS93kf5UUe5YgVdNNySQnsa/wu/5Jx4d/7BsH/oArpKz/AA1Yf2V4e07TeP8ARbWOE49VUCtCuyTu2dC2CiiipGFFFFABRRRQAUUUUAFFFFAHB/G+18vwlB4kiDfaPDl5HqalRyY0ysy/QxM/5CtSKSOaJJoWDxuoZGHQqRkH8q6O9toL2zms7qJZYJ42jlRhwysMEH6g15X4ct/iB4f0O10JvBa6munobeK7TWIkE0aEiNtrLkHbtyD3oA7Oiuc/tDx7/wBE5P8A4PIP/iaP7Q8e/wDROT/4PIP/AImgDo6K5z+0PHv/AETk/wDg8g/+Jo/tDx7/ANE5P/g8g/8AiaAOjrmrGNNc+MdrEQXg8Nae1y/90XNzlEH1Eauf+B07+0PHv/ROT/4PIP8A4mtn4XaLqmm2Oqalr1rFa6tq+oSXU0McokEUYASKPeOGwiL07k0AdhRRRQAUUUUAFFFFABRRRQAUUUUAFFFFABXHfEf/AJCfhb/sJt/6Ty12Ncd8R/8AkJ+Fv+wm3/pPLWtD418/yM6vwj6KKK6zEKKKKACiiigAooooAxfHP/Io6n/1wP8AMV6Ov3R9K848c/8AIo6n/wBcD/MV6Ov3R9KxxHwr5/oXS+Ji0UUVym4UUUUAFFFFABWD4t8RLpCxWdnCL3V7vItbUHGfV3P8MY7n8BzW9XnvhFVn1XxHqE37y7Orz23mtywijICID2UZPHvSlJQi5MqEeeSiXtB0k2LTXt7cfbdVu8G6umGN3oij+FF7L+PWtSiivOnNzd2ejGKirIKKKKgoKKKKACiiigDM1/SE1OKKSOZ7S/tm8y0u4x88L/1U9Cp4IrQ8I+In1CSTSdWiS01q1UGaJT8ky9pYieqn81PBp9YHjSNEj0vUEGy7ttTtVhmXhlV5kR1z6MpII712Yaq21Tlt08jkxFJWc1ud/RRRXScoUUUUAFFFFABRRRQAUUUUAFY3iXw5Y60I5maW0v4Afs17bnbLCfQHuvqpyDWzRTTA4dNavNFuU0/xYsUG47YNSjG22n9mz/qn/wBknB7GkjvdU8UO0Ph5mstMyVl1Z05f1Fup+9/vngdga63W2sI9IupdUjikskiZpllUMpUDJyDwa474R+NR4qj1C3nWOGa3mLQxKMYgJ+UY9un5VgsNRUufl1/Arnm1a51fh/RNO0Oza20+ErvbfNK7FpJn7u7Hlj7mtKiit229yUrBRRRSAKKKKAChgGBVgCD1BoooA+Zv2gv2VNB8XfaNf8B+RoWunLva422ty3XoP9Wx9Rx7d68r+Fvx/wDiB8G9eHgb4saXqF7p1uwjDTjN1bJ0DIx4lj9Ofoe1fdtcf8U/ht4R+JWhNpPinS47jaD5Fynyz27H+JH6j6dD3FAGp4J8W+HfGmgw654Z1W31GxlAw8Tcof7rDqrD0NblfAPjH4b/ABa/Zr8SP4r8Falcaj4e3/vJ4kLIUz9y5i6f8CHHoRX0V+z/APtJeE/iVHDpOqNHoXiUgA2kr/urg+sTnr/unn60Ae6UUUUAFFFFABTZEWSNo5FDIwKspGQQe1OooA87mtb7waTbvb3F74eBzbzwqZJbJT/BIo5aMdmGSBwRxmrtprmi3abrfVrGQe065H4E8V29ZeoeHPD+oyGS/wBD026c9WmtUcn8SKUoQm7vcydN9DE/tDT/APoIWf8A3/X/ABo/tDT/APoIWf8A3/X/ABrQ/wCEK8H/APQq6J/4Ax/4Uf8ACFeD/wDoVdE/8AY/8Kn2MO7FySM/+0NP/wCghZ/9/wBf8aP7Q0//AKCFn/3/AF/xrQ/4Qrwf/wBCron/AIAx/wCFH/CFeD/+hV0T/wAAY/8ACj2MO7DkkZ/9oaf/ANBCz/7/AK/40f2hp/8A0ELP/v8Ar/jWh/whXg//AKFXRP8AwBj/AMKP+EK8H/8AQq6J/wCAMf8AhR7GHdhySM/+0NP/AOghZ/8Af9f8aP7Q0/8A6CFn/wB/1/xrQ/4Qrwf/ANCron/gDH/hR/whXg//AKFXRP8AwBj/AMKPYw7sOSRhX/iPQ7MES6nbvJ/DFC3myMfQKuSTUug6RqOt6rb61rVq9lY2reZY2EmPMaTHE0voR/CvbOTzXU6bo+k6YP8AiW6XZWfY+RAqfyFXquMYw+Hcap66hRRRQahRRRQAUUUUAFFFFABRRRQAUUUUAFFFFABRRRQAUUUUAFFFFABRRRQAUUUUAFFFFABRRRQAUUUUAFFFFABXHfEf/kJ+Fv8AsJt/6Ty12Ncd8R/+Qn4W/wCwm3/pPLWtD418/wAjOr8I+iiqmtLcvo18lkSLpraQQkf39p2/riusyOB8TfHD4c+H9buNHutWubu7tTi6FhZyXC257h2UYFd3oGr6dr+i2mtaRdLd2F3GJYJlBAdT355H418vfC7xVceGfgKR4T1Hwpp/ibTbi7l8R2uuAi4nZSSAoyCzHGBnjtW/pHjm6uPGHwZ1rVNQttE03VdKvHu4IZPs9mZMHGVzt64xnuayU+5Tie3fETxfpfgXwy/iDWkuGtFmihIgTc26Rtq8E9MmmaL400nVvHWseDbVLn+0tJt4bi4LJiMpIAV2nPJ5Ga+YfF+uz6/8Kfibctq0upWaeN7ZbKQzmRFi8wYCdgv04rqta0fUtd+LXxfsNGvrux1P/hHrGa0mtpSjiWNUZRkc4OMH60e0dw5T6Zor55+CfjXVvin8StI1VLy7j07w94djXUoldljm1CUlTuXo2ApPtX0NWkXdXJasYnjshfB+qMxAUW5JJOABkV20fiDQWUbdb008drpD/WuA+KFq198OvEFiriNrmwlhDEZCllxn9a+dU/Yj8QBcj4g6fnHaxkH/ALNWWI+FfP8AQql8TPs5dY0lvu6pYt9Lhf8AGpV1Cwb7t9bH6Sr/AI18VP8AsU+Ll/1PxA00/W3lH9ajb9jHx4v+r8e6Wf8AgMwrlNz7dW4t2+7PE30cVIGU9GH518Mt+xz8S1/1fjjSj/20nH9KY37IPxYX/V+NdKP/AG9Tj/2WgD7qyPUUV8J/8Mk/GNP9X400z8L+4H/stH/DKvxxj/1fjWx/DVLgf+y0AfdlefeCv9Z4i/7D13/MV8rD9mP9oCP/AFfja3/DWJx/Svev2ZtB1zwz8ObjQ/El4LzVbTV7pLmYTGXe24c7jyazrP8AdP5GtD+Ij1Ciig9D9K849A8p8L/HTw74k8RR6PpPhzxVOHvjYm8XTibaOQNtJZwcADv7V1fw08c6f48stVutNs7q2XTdTm06QT7cu8eMsME8HNeJfsnab4+ntr6+0nxXp1p4aj8TXX2vTZNPEk02GG7Ev8ORj6YrhE1a+074W6rbLqV3pWiah8R57XWr21Yq8NscZG4fdB9fauh04vRHOqkt2fahB9KMH0NfItjqP/CJ+LvHth8G9evtY0G28JNeEi7a7jtrzcACjHPzbcn8/SqHhiXw7puq/C3V/h/4y1PV/FusX8K69btqDzGSNgDN5sZOECncPwz71PsfMftfI+p/iR4rs/A3gnUfFeoWtxdWtggd4oMb2BYLxnjvWzpd2moaZa38assdzCkyq3UBlBAP518NeOZvD2seBfiJrfivxbqUfjyPWpbW30171kBt1kG2MQ9GTGTnttFfbHg7/kUNF/7B9v8A+i1pTgopFQm5NmrWB46Yrpdjjvq1iP8AyYSt+uf8ef8AILsP+wvY/wDpQlVhv4sRV/4cj0Ciiiu44AooooAKKKKACiiigAooooAKKKKAK+o2drqFnJaXtulxbyD543GQ31rlPhtouhWsVxf6d4eu9Kn894/9LH7wrx05+4e1dk5whJOMDrXNfDe4t7nQZJrbW7zWIzcuPPukKOpGPlwewoA6aiiigAooooAKKKKACiiigAooooAbNHHNE8M0aSRupV0cZDA9QQeor5Y+P/7J+m61JN4k+GbRaPqwPmPpu7ZbzN1zGf8Alm3t936V9U0UAfDvwh/aT8ZfDXWB4H+MWnahPb2zeWbmZD9stR23Z/1qe/XHQmvs7wr4i0TxTokGteHtTttSsJxmOaB9w+h9D6g8iuY+L/wn8G/FHRjY+JNPH2lFItr+EBbi3P8Ast3H+ycivjfXvCfxi/Zd8Strnh68k1Lw1LJ88yIWtpl7LPH/AANj+L8jQB+gdFeN/AT9oTwf8UreKxMi6N4iCjzNOuJB+8PcxN/GPbqPSvZKACiiigAooooAKKKKACiiigAooooAKKKKACiiigAooooAKKKKACiiigAooooAKKKKACiiigAooooAKKKKACiiigAooooAKKKKACiiigAooooAKKKKACiiigAooooAK474j/8AIT8Lf9hNv/SeWuxrjviP/wAhPwt/2E2/9J5a1ofGvn+RnV+EfRRRXWYnJeIfhr4A8Qam2qa14Q0i+vmOXnltxvY+5HX8at634G8H63o9no+reGtMu9Psv+PW3kgGyH/dHauiopcqHdnMD4feCRpV1pK+F9MSwu547i4tlh2xySJjYxA7jAxWna6DpFjrV9r1jptrDq17EsVxchcNKqD5FY+gwK1KKLILnnnwM+Hcnw+0XVUvrmzutU1bUZL67ktIykS7j8qIDzgDP516HRRQlZWBu5i+Of8AkUdT/wCuB/mK9HX7o+leceOf+RR1P/rgf5ivR1+6PpWWI+GPz/Qql8TFooorlNwooooAKKKKACvPvBP+s8Rf9h67/wDQhXoNee2gfw34jvtO1JQtvq1/Ld2N3/A7yYJhb+64xx/eHTnipqpyptI0otKomzoqKKK8w9Ep6PpOl6Pbvb6Tp9rYwvK0zpbxhFZ26sQO59arw+HfD8OnXenRaJp6WV5I0t1bi3Xy5nbqzLjBJ9TWpRTuxWRm6DoGh6Bava6Ho9hpkDnc8drAsasfU4HNQaR4U8MaPqMupaT4d0qxvZs+ZPb2qI7Z68gZrZoouwsjEv8Awh4Uv7+5v77w3pFzd3UZiuJ5bRGeVD1ViRkitmGOOGJIYUWONFCoqjAUDgAU6ii7CyCuf8ef8guw/wCwvY/+lCV0Fc7q5fxBrFtoGmr5hs7y3u7+4/5Z24jcOE93bA+XsDk1vhYt1U+xjiGlTfmehUUUV2nCFFFFABRRRQAUUUUAFFFFABRRRQBn+ItXs9D0mXUdQlMNumAX2FgpPAyBzjNc78MfE1vrVlLatqNne30TM8htLZ4o1Qn5fvDrV3x3q2lQadLo93BNqF1fRMkdhbKHmkU8bsdFA/vEgVjfBDT9L03wvJHaXHm3zTE3qOu2WJuioynlcD8+cU+V2uK6vY76iiikMKKKKACiiigAooooAKKKKACiiigAqK8tre8tZbW7gjuLeVSkkUihldT1BB4IqWigD5G+Pf7JyS3Enin4TSf2ffxt5zaV5hRCw5zA/wDA2einj0IrC+Cv7UWv+ENSHgv4yWV6fszeT/aEkRFzbn0mT+Mf7Q5+tfa1ecfGr4M+DPipphi1yzFvqaLi31O3UCeL0BP8a/7J/DFAHc6DrGl69pMGraLqFvqFjcLuingcOjD6ir1fnzdWHxn/AGV/EpurSQ6l4Ynl5Zdz2VyM9HXrFJjvx9SK+sfgZ8dfBfxVskhsLkadripmfS7lgJAccmM9JF9xz6gUAeq0Vm6/rul6FAs2pXSxGQkRRgFpJT6Ig5Y/QVhp4yvLgb7TwlrLxn7rTNDCSPXaz5/OqUXa5LnFbnXUVyL+LNaBGzwbfN9b23H/ALPTf+Et1z/oS7z/AMD7f/4qjkfdfehe0idhRXH/APCW65/0Jd5/4H2//wAVR/wluuf9CXef+B9v/wDFU+R9196D2kTsKK4//hLdc/6Eu8/8D7f/AOKo/wCEt1z/AKEu8/8AA+3/APiqOR9196D2kTsKK4//AIS3XP8AoS7z/wAD7f8A+KpU8Wa0T83gy9A9r23P/s9Lkfdfeg9pE6+iuRbxv9lYHVfDms2UR6zLGk6J7t5bEge+K6XTNQstTso73T7qK6t5B8skTblNDi0rjUk9izRRRUlBRRRQAUUUUAFFFFABRRRQAUUUUAFFFFABRRRQAUUUUAFFFFABRRRQAUUUUAFFFFABRRRQAUUUUAFFFFABXHfEf/kJ+Fv+wm3/AKTy12NcR8VLq1srvwxcXlxDbQrqjbpJXCqP9Hl6k8VtQ+Nf10M6vwlmisj/AISfw1/0MOk/+Bif40f8JP4a/wChh0n/AMDE/wAa7OV9jC6Neisj/hJ/DX/Qw6T/AOBif40f8JP4a/6GHSf/AAMT/GjlfYLo16KyP+En8Nf9DDpP/gYn+NH/AAk/hr/oYdJ/8DE/xo5X2C6Neisj/hJ/DX/Qw6T/AOBif40f8JP4a/6GHSf/AAMT/GjlfYLoZ45/5FHU/wDrgf5ivR1+6PpXkvjHxF4fuPC+oQwa5pksrxbURLpCzEkYAGeTXrS/dH0rDEpqMb+f6GlJ6sWiiiuQ3CiiigAooooAKp6zpllq+nTafqECz28owynt6EHqCOoI6VcooTsBwNpPe+H9Si0LXZmmilO3TtRfgTjtFIe0o9f4hz1zW9WprOmWWsabNp+oQLNbyjDKeCPQg9iDyCOlcba3F7oGpRaFrkzTRSnbp2ovwJx2ik9JR+TDkc5FYV6KkuaPzR00a1vdkb1FFFcJ2BRRRQAUUVh6heX2qam/h/w/IEuFA+3X2MpZIew7NKR0Xt1PvpSpSqOyIqVFBXYaheX2q6k/h/w/IEnXH26+xuSyU9h2MpHRe3U+/W6BpFjoemR6fp8WyJMsxY5aRj952PUsTyTRoGkWOh6ZHp+nxFIkyWZjl5GP3nY9WYnkmr9eilGC5Y7HnSk5vmkFFFFAgooooAKKKKACiiigAooqjrerafoti17qVwsEIOBnlnY9FUDlmPYDmhK4XLxOASTgVyGoeJbzV7iTTvCQjdUbZcarIu6CH1EY/wCWr/T5R3Paqs0WreLDv1RZtK0U4KaerbZ7kf8ATZh91f8AYH4ntW/awQ2ttHb20McMMahUjRQqqPQAdK5K+MjT92Gr/Bf5/kaQpOWr0RQ0LRbPSVkeNpbi7nwbm8nbdNOf9pvT0AwB2FRazocd5dJqVjcPp2rRgCO8hAywH8Ei9HT2P4EVsUV5ir1FPnT1Ol04uPLbQzdD8USLex6P4kt00/U34hkU/wCj3fvGx6H/AGD831611Fc/qmn2ep2T2V/bx3ED9Ucd+xHoR2I5FZEF9q/hMBLw3OsaEuAJwN91aD/bA/1qD+8PmHfPWvWoYqFbTaX5+n+RyzpuHmjt6KgsLy1v7OK8sriK4t5V3RyRsGVh7Gp66CAooooAKKKKACiiigAooooAKKKKACiiigCtqmn2Oq6fPp+pWcF5ZzoUmgmQOjqexB4NfJfxb/ZY0zRPEdv408Ea9PoOmW9wJry1V2823Gf+XZhzkn5Qp6EjntX17XKfEw7tM0uBuUm1a2Vx2IDFv5qKcbX1Jk7JmP4a0maALqmsSNdazNGBJLIdxhXAxEmegHc/xHJNbtBorjlJyd2YpWCiiipAKKKKACiiigAooooAKwL7PhfUf+Ei09WSzdwNVtU+46E488Ds69SR1XOe1b9VNahW40e+gkAKyW0ikH0KmtaM3GS7Cfc7BWDKGUggjII70tYfw+uZLzwLoV1KSXksIWYnudgrcrpas7HQndBRRRSGFFFFABRRRQAUUUUAFFFFABRRRQAVDe3VtY2kt5eXEVtbQoXlllcKiKOpJPAFY3jTxdpPhW0je+aWe8uDts7C2XzLm6f+7Gnf3JwB3Irim0XWPF13HqXjry1tI332ugQvut4v7rTt/wAtpB6fcU9AetAHceEfFvh3xZbzT6BqkV4IH2SqAVdPQlWAIBHIOMEcjNblec+IvC9vqV3Dq2n3U2j65bKFt9RtQA4Uf8s5F6SR/wCw34YPNWvC/jq4i1KHw542todK1iT5ba6jJ+xagf8Apkx+6/rG3PpuoA7yiiigAooooAKKKKACiiigAooooAKKKKACiiigAqG7tbW7QR3VvDOgOQsqBgD64NTUUAUP7F0b/oE2H/gMn+FH9i6N/wBAmw/8Bk/wq/RTuxWRQ/sXRv8AoE2H/gMn+FH9i6N/0CbD/wABk/wq/RRdhZFD+xdG/wCgTYf+Ayf4Uf2Lo3/QJsP/AAGT/Cr9FF2FkUP7F0b/AKBNh/4DJ/hR/Yujf9Amw/8AAZP8Kv0UczCyKA0XR1YMuk2AIOQRbpx+lX6KKVx2CiiigAooooAKKKKACiiigAqnrOmWWsabNp+oQia3lGGU8EHsQexB5BHQ1cooTsBxsPhnxVbxiCHxZbSRJ8sbXGmb5NvbcwkG4474Gad/wj/i7/oaNN/8FB/+O12FFPTsvuQ7y7v7zyL4wr8SfDXw71XV/DmoQ6xqsUYFvbWujEuSWALf6w8AZPQ9K+adA/ax8aWOpjTvGmk29p5fyzPBYETK3vG7qP1Ffedcx42+H/grxpbtD4o8NabqeRgSSwjzV+jj5h+BqbRvey+5D55W3Z5V4B+KHh3x9CkGkfFXSLW6mG021zpX2a5XP93fKQT6EbhmvbPD+k2OiaXHYafHtiXLFidzSMers38THqTXy/8AEP8AYt8OXqyXXgbxBdaTPnKW17++h+gYfOP1rzc6T+1J8D5d9jJqWraPCOkLG/tSo9UPzJ+Qqr6WSJd3uz74or5A+H37aVoWWy+IHhaa0mVtr3WnHco9d0TnI/An6V9F+Afir8PvHUUZ8M+KdPvJnAP2ZpPLnHsY2w2fwpAdpRRRQAUUUUAFFFFABRTLiaK3heaeRIokUs7uwCqB1JJ6VxtzrWqeJnNv4dd7DSuRJqrJ88w9LdT2/wBs8egPWk2ormk7IOtkafiHxPHZ3f8AZOlW51PWGGRbo2EhB6NK/RF/U9hWfpehyfbl1jXLoalq2PkcriK2HdYU/h/3vvHuavaNpVjo9p9msYdik7pHYlnlbuzseWY+pq9Xl4jGOfuw0X4s6adG2stwooorhNwooooAKBRRQBz9xo15pd5JqnhaSO3mkbdcWEhxbXJzycD/AFb/AO0OvcGtzw54js9ZMlv5ctnqMA/0iyuBiWP39GX0YZBqSszXdFtNWEckjS215Bzb3kDbZoT7HuPVTkHuK9HD45r3auq79f8AgnNUodYHU0Vx+n+JLzSbiPT/ABb5cYdtlvqka7beY9lcf8snPoflPY9q7AcjNel0utjnuFFFFAwooooAKKKKACiiigAooooAK5T4lf8AHpov/YYt/wD2aurrlPiV/wAemi/9hi3/APZqaIn8LJaKKK4TIKKK4H41fEN/AWj6emnaW2r69rF2LPS7ENtEkh6lj2UZH500rgjvqK8T8VeNPjD4T+HfifWvFGheHLa4sbFLixu7GZpYvMMiqYpEY5yAxORxxXaX/wATfCHhvw9od54y8RWGlXWpWUVwsb7iWLKCSFUEhcnr0p8rHZncUVyPiD4meAdA0bT9Z1fxVp9tp+pKWsp9zOs4HUrtBJxkU9/iP4FTwra+KW8T2A0S6uBaw3uW8tpTnCHjKng9cY70rMLM6uisrwr4i0TxVo0es+HtRh1HT5HZEuIgdrMpww5APBFatIQVBqH/AB4XP/XF/wD0E1PUGof8eFz/ANcX/wDQTVQ+JCexa+GH/JOfDv8A2DoP/QBXR1znww/5Jz4d/wCwdB/6AK6Ou2fxM3jsgoooqSgooooAKKKKACiiigAooqnreq6bommT6nq17BZWcC7pJpnCqo/x9upoAuVwXiTx1cXWoz+HfA9vDqeqRHZdXspP2LTz3EjD78npGvPqVrJvdQ8RePyY4De+G/CrcFuYr/UFz27wREd/vkH+Gui0jTdP0jTotO0uzhs7SEYjhiXao/xPqepoAy/DXhi20m6m1S7up9W1y5GLnU7rBlcf3EA4jjHZF4+p5rfoooAKp6zpen6zpsum6rZw3lpKPnilXIOOh9iOoI5FXKKAOTsdU8QeAAI75rzxF4VQACfBlv8AT1/2wOZ4gO4+cDqG616Po+p6frGmwalpV5Be2c67opoXDKw9iKxK5S78Paloeoza54FnhsrqVt93pcxIsr455JA/1Uh/56KOf4gaAPUaK5nwX4003xK01kYptN1m1H+l6Xd4WeHnG4dnQ9nXIP6V01ABRRRQAUUUUAFFFFABRRRQAUUUUAFFFFABRRRQAUUUUAFFFFABRRRQAUUUUAFFFFABRRRQAUUUUAFFFFABRRRQAUUUUAFFFFABRRRQBwnxA+EHw58dRSDxF4VsJrhwf9KhTyZwfXemCfxzXzr4+/YuMM39ofDvxZJbyodyW2o5yp7bZUGR+I/GvsWigD4HTxT+1D8EXaPWbbUNU0iHgtdx/brbaO4lX5lH1I+len/Dz9s/wnqIitvGuh3miXB4e4tf38GfXH3wPwNfVDKrKVZQykYIIyDXl/xE+APws8cK8mpeGYLO8bJ+16f/AKPLn1O3hvxBoA6/wb448IeMrX7R4X8Rabqq4yVt5wXUf7S/eH4iuir4o8Y/sdeKtCvzqvw08YeY8Z3RRXLm2uEPoJU4P4hawLX4x/tHfB51s/G2j3Wo2EbYDarblwR6LcJ1/EmgD72rK8R6/p+h26Pdu7zynbb20K75p2/uoo5P16Dua8W+GP7RsPxF0SZ9L8NXGkXkMkcE93eyB7G3dwcFpFwT0OFIGfWvUdE0OGxuJNQuLiTUNUnH729mwWI/uoBwieij9ayr1o0Ypy67DhFzdkVDpmpeIplu/FG2O0Vt0GkRtujX0Mx/5aN7fdHv1roQAoCqAABgAdqWivGrVp1XeR2QgoLQKKKKyLCiivEP2soPFkml+HrjS4dduvDMF4z+ILfRJTHePFgbSpHO0fNnHtmrpw55ctxSdlc9uYhfvEL9TigMpJAYEjqAelfLGs6v4Ab4LeHJvDd7rfiXTW8YWqeXqmoSLc2UzH7jEc4GMhTwc9ap+Jde8VeH7z4/ar4VkEd3bahamS4MxR7aLYd0kfqwOBj3NbLDt9f6uR7Q+tKK4f4Hap4t1n4b6XqPjK0tIL+aCNont5/N8+IxqVlc9nbJyK7iueSs7Fp3QUUUUhkd1BBdW8ltcwxzQyKVeORQysD2IPWsCGPV/Ch3aYs2q6KDlrFm3XFsP+mLH76j+4efQ9q6Oit6GInRem3YznSU/Us6Lq2n6zYre6bdJcQklSRwUYdVYHlWHcHmrtcXreki2nm1/Sb6LSNQRC00z/8AHvOo7TL0I/2uGHr2r5/+L37WHiDwV4rj0e08G2E8RtY5jJcTyDzC2fmQgcxnGQcDNezSqRqx54HG04vlkfWlFfDqftv+JP4/Amkn6Xkg/pU6ftwa1/H4B08/S/f/AOJqwPtuivipP24dQ/j+H9qfpqLf/EVMn7cUv8fw8Q/TU/8A7XQB9n0V8bp+3HF/H8OXP01Uf/GqlX9uOx/i+HFx+Grr/wDGqAPsOivj9f24tM/i+Hd4Ppqq/wDxupF/bh0X+L4fagPpqSH/ANkoA+vK5T4lf8emif8AYZt/5NXzkv7cHh/+LwDqg+l9Gf8A2Wrvh79p7RPif4x8OeErPwtqGnTz6nHKJpbhHUBFYkYAzTRM/hZ9C0UUVwmIV5F+0d4c8TXk3hLxn4T07+1dQ8Lan9rewBw88TY3bfUjb0969do6GmnZjTseB/E3xT4m+I3wi8XaVZfDbxJpSf2ehja+jAknm81P3ccY5bAyc+1cZ498JeK9K8e6f4kl0rxPc6beeGrSxD6NZ29zNbSJGFeJ0mRgoJycjHXr1r6vyc9aKpTt0HzHy1faX4t8LeAfA2meH/DPidNFH2tr1v7OtrrVbVnfKJh1KRq3XgdPpWJYeB/FTfAJdFvfDGqm6fx/HcyWk9uDIbc/edlUbdvPJA2+nFfYGTS8+9HOPmILS1tbO3W3s7eG2gT7scSBFH0A4qaiioICoL/mxuB/0xf/ANBNT1BqP/IPuf8Ari//AKCaqPxIT2Pmvw9+2L4b8OaJZ+H5vBurTyadCtq8qXUYDlBtJAI6HFaA/be8Kd/BGtD/ALeYq9h+H3w0+Ht/4E0O8vfBegz3E1hFJLLJZIWdioJJOOSTW03wj+GDfe8B+Hj/ANuKf4V2z+JnRHZHgy/tu+EP4vBeuD/tvF/jUi/tt+Cz97wfro/7axf417i3wd+FjdfAPh7/AMAk/wAKjb4L/CdvvfD/AMP/APgGtSM8WX9tjwN/F4U18f8AAov8aev7a3gLv4Y8QD/v1/8AFV7E3wR+Ebdfh74f/wDAQVGfgX8Hz1+Hfh//AMBhQB5Kv7anw9/i8O+IR/wGP/4qnr+2l8OT10HxCP8AtnH/APFV6qfgR8Hj/wA070H/AMB//r0xvgH8G26/D3RPwjI/rQB5iv7aHw176N4iH/bGP/4upF/bO+GB+9pfiIf9u8f/AMXXor/s9/Blv+af6UPpvH/s1Qv+zp8F2/5kPTx9HkH/ALNQBwi/tl/Cs9bDxEP+3VP/AIupPht8QvC/xm+JGqahGupXVlpsEMukWt/GEhiccTOIwSGkDFDuOSAwxiuxf9mz4Kt/zI9qPpPKP/Zqq6z4B8M/C2LQNX8G6OmnWMGreVqKK7NmK6CwliWJOFcRH04NAHoFFFFABRRTJpYoYXmmkSKJFLO7sFVQOpJPQUAPorK8NeI9B8S2k154f1a01S3hlMMkttIHVXABK5HfkVq0AFFFFAHFfGK0tF8JXGtpHMmt2KgaTdWrbLiO4dgsaqw6hmIBU5BGcivU9NS6j062jvpVmulhQTyKuA7gDcQO2TmvOdehl1r4heFtAjYfZrWSTWb4eqw/LCv4yuD/AMAr06gAooooAKKKKACiiigAooooAKKKKACiiigAooooAKKKKACiiigAooooAKKKKACiiigAooooAKKKKACiiigAooooAKKKKACiiigAooooAKKKKACiiigAqK7t7e7t3t7qCKeFxh45UDKw9CDwalooAw9B8H+FtAtL600Xw/p1hbahIZbuGCBVSZiMZZenQVjXOj6p4XJn0FJdS0gEs+mM2ZYB6wMeo/6Zn8D2rtaKUoxkuWSug2d0c5o+qWOr2f2rT5xLGGKuMENGw6qynlWHoau1S8QeGFurw6vo1wNM1gDBmVcx3A7LMn8Y9+o7GqOla4z3w0jWbX+zNWx8sLNmO4A6tC/8Y9uo7ivKxGDdP3oar8V/Xc6ada+ktzboooriNwriviT4d8bavdafqHgnxuPDl1aq6Swz2YuLe5VsYLKejLjgj1rtaKcZOLuJq54QP2fpI/BkWlL4nFxq0/iWHX9Tvprbas8iE5REU/KOeK3Z/g6bx/ifHe60ot/HBQx+VCd9ptXAzk4bnB7cV61RWnt59yeRHI/CTw74i8KeC7XQvEniCDW7i0AignhtfJVIVUKiY7kAdT6111FFZt3dykrBRRRSGFZuu61Z6QkazeZNdTkrbWkC7pp29FX+ZPA7mqN1rV3qV5LpXheGO7uYyVuL2TP2a0PoSPvv/sD8SK2/Dfhuz0eSS7eSS+1Ocfv76fBkf/ZHZF9FHFejh8C371XRduv/AADnqV+kTLsPDd7rE8eoeLPLMaNvt9KjbdDH6GU/8tX/APHR2B610lzpmm3Lh7nT7SZwAu6SFWOPTkVbor0lZJJbHOZraBoLfe0XTT9bVP8ACmHw14cb72gaUfrZx/4Vq0UAY7eFfC7fe8N6OfrYx/8AxNRt4O8It97wtoh+thF/8TW5RQBz7eCPBjfe8JaCfrp8X/xNRnwD4Gbr4N8Pn/uHRf8AxNdJRQBzDfDvwC33vBfh4/8AcOi/+JqNvhr8PW+94H8On/uHRf8AxNdXRQByDfC/4cN97wL4cP8A3Dov8K5/xd4D8FaDPoWpaL4U0bTr1dXgVZ7azSNwCGyAQM816fXJ/Ev/AI9NE/7DNv8AyamtyZ/CyavNf2jvGmreCfh19r0Dy11jUL2HT7OSRcrE8h5fHsBx716VXFfGnwHH8RfAs/h/7abC7WZLmyugu7yZkOVJHp1Brija+pktzjpPAvjHwj4Y1rWbr4n67rX/ABI7w31reAFDN5LFXhI5j2t+lc38B/jFcW/hnwH4c8Q+G9eSLVl+xW2vXThormcE8DJ3EdBuNddp/h341appl9pXi7xD4XNjJpdxaBbK3fzLqR4iiPIzD5QCQTt61Qg+E3iCPwh8KtIN5p5n8Iaglzfne22RRniPjk898VenUq6L/jL4z3nhPWZU1j4d+IINCivVs21dnjEZLNtDhM5Kk9KTxl8bDofjDXPDGm+Btb1+60e2ju5pLNl2CFk3M7E/dwMcc5rzrxd+z7471jVtYZtS8M38d3qv2+HUr1Zjfqm8MIQ3KooHYV6nY/D3WIPiL478RNdWn2XxDosNhaoGO9JEj2kvxgDPpmi0QtExvD37QOm6vq3hxW8H6/Y6L4huBaWWrXKqInuD1QAEkgHjd+NcV4b+Kus+DfF3xRlufDXiLxLp1lrrSTTwSgw6fAMjHzHj/dHpXVW/wf8AEUfw8+GXh1r3TvtPhXWUvr1t7bJEDMSE45PPfFZ2s/Cf4ppd+O7fw74g8O22leMdQkkuUuInaWGFuNysBjcQWBH60/dDQ63xJ8bNNtrnSLHwr4d1PxXf6npq6otvZsqeTbN0Zy3frx7VT1H4/aLF4Z8K65p3h3VtT/4SOee1htINvnxXEWAYyvcliBkH3rm/GH7P97Hqehal4VXw7qh0/RotKuLTxBAzxSeX92VSvIbrW5a/CfXI3+G8oTw7Yt4b1O4vdQg06JoYGEmMCJcHJ45zilaIWieteGr+71TQbPUL/SrjSbqeIPLZTsDJA391iOCas6j/AMg+5/64v/6CanFQaj/yD7n/AK4v/wCgmph8SM3sWvhd/wAk48O/9g2D/wBAFdJXN/C7/knHh3/sGwf+gCukrtn8TOiOyCiiipGFFFFABRRRQAUUUUAFY/jXRI/EnhHVdCkbaL61eFX/ALjEfK31BwfwrYooA888A6tJrXg7TNQuCPtRh8q6A/hnjJSQf99q1btcr4fjj0P4h+KPDSgpFcSJrVop6bZsrKB9JUJP++K6qgAqlrmj6Zr+mS6RrFnHe2NwVE0EmdsgDAgHHUZA471drL8V6FZ+JfD93oeoS3cVtdKFke1mMUoAIPyuOR0oA8h/Y6hit/CvjCCCNIoo/FV2iIgwFACgADsK9yrz34a/B/wh8PdZm1Xw7JrCzTRvHIlzftLG24glip43fKOetehUAFFFYvjnWf8AhH/CGqawqGSW3t2MEY6ySn5Y1HuWKigBnwphTVPEfinxdv8AMSe7XS7M9hBbZDEfWVpP++RXodYXw/0NfDfgvSdEUfPa2yrKf70pGXb8WLH8a3aACiiigAooooAKKKKACiiigAooooAKKKKACiiigAooooAKKKKACiiigAooooAKKKKACiiigAooooAKKKKACiiigAooooAKKKKACiiigAooooAKKKKACiiigAooooAKoa7o+na3Ymz1K3WaPO5Gzh427MrDlWHqKv0U07A1c4aWfVvCreXrLS6lo2cJqSpmW3HpOo6j/poB9QOtdBBLFPAk8EiSxSKGR0YFWB6EEda2GAZSrAEHgg965C+8N3uizSX/AIT2eU7b7jSZG2wyepiP/LJ/b7p9B1rir4ONT3oaP8P+B+RpCq46PVG1RWboWtWerxyCDzIbmAhbm1mXZNA3oy/yPQ9jWlXlSjKD5ZKzOtNNXQUUUVIwoorI1rXYrG5j0+1t5NR1WYZisoCN2P77noif7R/DNXTpyqS5Yq7JlJRV2X9SvrPTbKS8v7mO3t4x80jnAHt7n2rGgtNX8WfNcLc6NoR/5Z/cu7se/eJD6fePtV7RvDE0l7FrHiaeO/1BOYIEB+zWn+4p+83+2efTFdTXr0MLCjq9ZfgvT/M5J1JT8kV9NsbPTbKKysLaK2tohhI41woFWKKK6SAooooAKKKKACiiigAooooAKKKKACuT+Jf/AB6aJ/2Gbf8Ak1dZXKfE/EejWF452xWuqW0sjHoq79pJ9vmpx3In8LJaKO9FcJkFFFFABRRRQAUUUUAFFFFABVfUf+Qfc/8AXF//AEE1Yqjr9wlroV/cyHCxW0jH8FNVD4kJ7Gh8Lv8AknHh3/sGwf8AoArpKxfAlnJp/gvRbGUESQWMKMD2IQZrartl8TOiOyCiiipGFFFFABRRRQAUUUUAFFFFAHnvxVRtL8R+FvFSRjy4rttLvW9IbnAVj7CVY/8Avo1uVZ+IGht4l8FatoccgimurZlgk/55yjmNvwYKfwrnPBWtDXPCemarKyJPcW6mdNw+SUfLIv4MGFAG1RTfMj/56J/30KPMj/56J/30KAHUU3zI/wDnon/fQo8yP/non/fQoAdXLeKI5NY8a+FfDUY3Qm6bVb3uPKt8FAfrK0f/AHya6fzI/wDnon/fQrE+GUS6t4z8U+KfMEkSSpo9kR0CQfNKR9ZXYf8AAKAPQ6KKKACiiigAooooAKKKKACiiigAooooAKKKKACiiigAooooAKKKKACiiigAooooAKKKKACiiigAooooAKKKKACiiigAooooAKKKKACiiigAooooAKKKKACiiigAooooAKKKKACiiigDD8SeG7TWJI7yOWSw1OAfuL6DiRf9luzp6qePpWNaa1d6fex6T4ohjtLqQhbe7jz9muz6KT9x/wDYb8Ca7Wq+pWNnqVlJZX9tFc28ow8ci5BrOrShVVp/eOMnB3iUaRiFUsxAAGST0Arnri11rwmC1ul3rmiDAES/PeWo9s/61Pr8w96fbaJqfiZluPEaPY6Xw0elK/zy+9ww6/7g49c1wRy+fNZvTv8A8A3eIVttRi6lqXiOZrXwwRFZg7ZtXkTMY55WFT/rG/2vuj36V0nhzQdP0K2aKzR3llO6e5mbfNO3952PJ/kO1aMMUUMKQwxpHGgCoiLhVA6AAdKfXowhGnHlgtDnbcneQUUUVQBRRRQAUUUUAFFFFABRRRQAUUUUAFFFFABVTWNPtdW0u5029jElvcxmORfY/wBat0U07aged6bqE+k3SeH/ABFIIr1Pktbp+I75B0ZT034+8vXPI4rerd1LT7HUrRrTULSC6gbrHKgZT+Brmn+H2iBj9ku9bsU/5522pzKg+g3HFRKlCTvexi4SWxY5o5qt/wAK/wBP/wCg74m/8G0v+NH/AAr/AE//AKD3if8A8G0v+NT7CP8AN+AuWXYs80c1W/4V/p//AEHvE/8A4Npf8aP+Ff6f/wBB7xP/AODaX/Gj2Ef5vwDll2LPNHNVv+Ff6f8A9B7xP/4Npf8AGj/hX+n/APQe8T/+DaX/ABo9hH+b8A5ZdizzRzVb/hX+n/8AQe8T/wDg2l/xo/4V/p//AEHvE/8A4Npf8aPYR/m/AOWXYsOyohd2CqBkknAArBgU+NL+K0swW0CCUSXl2OEumU5EMf8AeXIBZunGOcmtq28AeHkkEl4t/qhHRb+9knT/AL5Y7T+IrqYY44YlihjSONRhVUYCj0A7VcIRg7p3Y1Tb3HUUUUzYKKKKACiiigAooooAKKKKACiiigArlrr4c+A7q5lubjwfoks0zmSR2s0JdicknjqTXU0UAcl/wrP4e/8AQl6F/wCASf4Uf8Kz+Hv/AEJehf8AgEn+FdbRQByX/Cs/h7/0Jehf+ASf4Uf8Kz+Hv/Ql6F/4BJ/hXW0UAcl/wrP4e/8AQl6F/wCASf4V0OjaXpui6dHp2k2NtY2cWfLgt4wiLk5OAOOSSa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B//Z">
            <a:extLst>
              <a:ext uri="{FF2B5EF4-FFF2-40B4-BE49-F238E27FC236}">
                <a16:creationId xmlns:a16="http://schemas.microsoft.com/office/drawing/2014/main" id="{D0936C4F-CC47-449E-BACA-6842E0C4876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28C5487-F72E-4E88-9A11-48650EE046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459" y="3361021"/>
            <a:ext cx="6248285" cy="221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520678"/>
      </p:ext>
    </p:extLst>
  </p:cSld>
  <p:clrMapOvr>
    <a:masterClrMapping/>
  </p:clrMapOvr>
  <p:transition spd="slow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75C55B0-1C09-47B4-8C18-1E334630CC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232" y="1417466"/>
            <a:ext cx="6066407" cy="1047773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+"/>
            </a:pPr>
            <a:r>
              <a:rPr lang="en-GB" dirty="0"/>
              <a:t>Data flow design</a:t>
            </a:r>
          </a:p>
          <a:p>
            <a:pPr>
              <a:buFont typeface="Arial" panose="020B0604020202020204" pitchFamily="34" charset="0"/>
              <a:buChar char="+"/>
            </a:pPr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Methodolog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2D32590-9556-4431-BF5A-5F38BDC49F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>
                <a:latin typeface="Arial"/>
                <a:cs typeface="Arial"/>
              </a:rPr>
              <a:t>Understanding vs. Expectations</a:t>
            </a:r>
            <a:endParaRPr lang="en-GB" dirty="0"/>
          </a:p>
        </p:txBody>
      </p:sp>
      <p:sp>
        <p:nvSpPr>
          <p:cNvPr id="2" name="AutoShape 6" descr="data:image/jpg;base64,%20/9j/4AAQSkZJRgABAQEAYABgAAD/2wBDAAUDBAQEAwUEBAQFBQUGBwwIBwcHBw8LCwkMEQ8SEhEPERETFhwXExQaFRERGCEYGh0dHx8fExciJCIeJBweHx7/2wBDAQUFBQcGBw4ICA4eFBEUHh4eHh4eHh4eHh4eHh4eHh4eHh4eHh4eHh4eHh4eHh4eHh4eHh4eHh4eHh4eHh4eHh7/wAARCAFKA0Q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82+MXxUh+HuqaLZf2RLqQvH86/dJNosbMOkbTtxzhpFGPrzQB6TRWbruv6HoVil9rWr2OnWrkKkt1OsasT0AJPNV9U8XeFtLs7S81LxFpVpbXoBtZZrtEWYHuhJ+YfSgDaorJ13xN4c0FYG1rXdN00XB/c/arlI/M/3dx5rB8WfFDwd4X8U6N4e1jVra3n1aKSaKVpkWKJFXIZyWGA3RSAckGgDtKKRSGUMpBBGQR3paACiiigAooooAKKKKACiiigAorn/AIj+Iz4Q8B614nFp9rOmWj3Ag37fM2jpnnFZfgzxB4vvLc6l4u0PRNE0o2q3CXEOqGUjIBwwZFCjB65oA7SiueTxdoup+H9T1LwzrGkau1jC7ny75PKVwpIEjjOwcdT0HNY+meN7ufxfoWh3drYRxaj4ffVp54bnzUjZWjG1H6MmHJ3ewoA7mis4a9opsbG+GrWJtb90js5vPXZcO33VQ5wxPYDrULeJ/Da6tHpDa9pg1GSVoUtTdJ5rSKASoXOcgEHHvQBr0VkWHijw3f6zNo1jr+mXOpQ5821iukaVMdcqDnirup6lp2lxRy6lfW1nHJIIkeeUIGc5IUE9+Dx7UAWqK5z/AITzwT/Zf9qf8JdoX2HzvI+0fb4/L8z+5uzjPtWlrOvaJo2mDU9X1ewsLE4xcXFwscZz0wxODmgDRorOt9d0W40Q65b6vYS6WELm8S4UwhR1O/OMfjXL6F8Q7HXfiWPDei3Gnajph0X+0Rf2twJMuJvLKfLxjHPrQB3NFZGl+KPDeq6pPpema/pl7fW+fOt4LpHkTHXKg5rXoAKKKKACiiigAoorz7xp408T2PxDtPBvhbw7p+qXU2ltqUkt5fm3VEEvl7RhGyc0Aeg0Vzcni3TdF02xPjTVNF0HUrhAXt5L9dobPRWbaWHvgVJqWvXNv4r0rS7dNNls720nuGke9Cz/ACBSvlxYzIp3csDxx60AdBRXHfDLxvB4o8G6Dq+pNZ6ff6wsxgtBNy5jdgwQHlsBcn0rem8QaFCt60usWEa2EqxXha4UC3dsbVfn5SdwwD6igDTorDPjDwmNJn1c+JNI/s+CYwS3X2xPKSQdULZxu9utaelajYarYRX+mXtve2kozHNBIHRh7EcGgCzRXnWreP8AXb3xdqXhvwJ4Xh12XR9q6pd3V8LWCGVl3CFTtYu+0gnjAyMmuh/4TDTdM0Gxv/GNxY+F7q5X57W+vYwUfPKhs4b6j1oA6SiqQ1bSy9ig1G0LagCbMCZT9owu47OfmwvPHamSa5o0a6g0mrWSLppAvi06gWxKhh5nPy8EHnsaANCisiw8T+G7/RZdbs9e0240yIkSXcdyhhQjrls4FT6Drmja/ZG90PVbLUrYMVMtrOsihvQlT1oA0KKKKACiiigAooooAKKKhv5/stjcXW3d5MTSbc9cDOKAJqK88+BPxLHxL8Ly6lc6V/Y9/A0ZlszN5mIpY1kikBwMhkb06gjtVT4b/FmDxp8QPE3h6HSvsunaPGJbfUXmBW7QSPG7hcfKoeN8HPOKAPTqKxtF8U+HNdluYdD17S9Tnth+9jtrpJCn+9tJwPes/QPGNjJ4X0/VfEmoaHpc94krqsepJLCwQnJSQ4DYABOOlAHU0VxnjH4neDvDPgSTxnNq9rfaUHEcT2c8cnnuWxtQ7gCRySM9Aa1v+Ey8Jjw/H4gbxHpSaVI21LxrtBEzdMBs4Jz2oA3aKzT4g0IabbakdZ08WV0wW3uPtCeXKSCQFbOCcA/kabo3iTw/rVhNqGka3p1/aQErNPb3KOkZHUMQcD8aANSisfQ/FPhrXRc/2Lr+maj9l/1/2a6STyv97B4pmneL/Cmo6lDpun+JNIur2aITRW8N5G8joRncFByRigDborJvfE/hyx1qHRLzXtMt9Tnx5VpLdIsz56YQnJpL7xR4bsdZh0W91/TLbUpseXaS3SLK+emFJzzQBr0VmeKJ9cttIeXw7p9nqGoBl2QXVyYIyM8kuFbHHtXnngH4ieMtfvdSm1bwzoOkaPpGpTafqV42sEmJ4lBZlBjAK/MvJI70AerUVlaH4l8Pa5ZzXmja5p2oW0BImltrlJFjOM/MQeOPWuX8c/ErSNM+Hes+KfC9/pevPpjQo8cN0HQM8qJhihOOGJ/CgDvaKpQarps2pyaVHfWzajFCs8tqsoMsaNwGK9QCehq7QAUUUUAFFFFABRRRQAUVwXxf8W+LPBmiXviDSPDmm6rpOn2T3V28+oNBKNmSVVQjA8D1FO8O+N7230VdW+ISeHvC9tcpG9k39rB/NDLk53qmCMjpnrQB3dFZV/4k8P6fosetX2uadbaZKAY7uS5RYnB6YYnBz7Vi3njOP/hNfC2j6b9kvdP122u7gXkcu4AQqhXaRwQdx/KgDr6Kp6Rqmm6vaG70q/tr63DtH5tvKHTcpwwyOMg8GvPPAvjvxx4uvZ7qw8JaTHoUGqz2ElzJqrCfbDIUZxH5eM8ZA3UAen0Vj2/inw1casukwa/pcuoO0irapdIZS0f+sG3Ocrg59MUuj+KPDes309hpOvaZf3dv/robe6SR4+3IByKANeisOXxj4Tj1K402TxNo6XtsVE9ubyMSRliAAy5yMkgfUitBNU02S4vbdL+2aaxCm7jEoLQAruG8fw5HPPagC5RWRfeJ/DljokOt3mvabb6ZOqtDdyXKLFIG5BVicHPtUj+INBTTrbUm1nT1srpgtvcG5QRysQSArZwTgH8jQBp0Vm6F4g0PXrKS90TWLDUraNikktrcLIiMOoJU8GqVp428H3cM81r4p0WeO3lSGZo72NhHI7bVViDwSxwPU0Ab9FVZtS0+HU4NMlvbdL64RpIbdpAJJFXG5lXqQMjJ96tUAFFFFABRRRQAUUUUAFFFFABRRRQAV4FNovi74heKviDqlha6E2jXkTeGbf8AtUTK/kxKfNeMKPutK7HPcoPSvfaAABwAKAPmNtUju/Afg7VfEuvyaD4y8MC803fe6W95aXMsWIpEkUL1dVQqwIY5OM1a8Y62E0/w347nSHw94vPh3YPD15o8lzaXsbPv+zphcxyFlGMHcAwyMV9I7F/ur1z070FVJGQDjpx0oA+ZvF51KL4rajrHirWovCNpq+hWK2IvNDXUIlHlnz7YORiNhISSv8WQe1XbnT9E8FyfCDVLy8uNT8O6dBfWkmpz6c+797HmEPHtLIMgqoI44r6MZVYYZQR7ilIDDBAI96AERlZFZfukZHHaloooAKKKKACiiigAooooAKKKKAOC/aHjkm+B/jGKKN5HbSpgqopLE47AVzWuaRc+C/g5fa3ZTa14mnOm24NhrE73tvGCU3P5OMnYCWwOSFxXsRAIwRkUUAfLnhiWXUPF3j+6t9ZGv283gV41vbbRTYQyOGk+RVAxIRnGeTzjtXV+E7C6uPEHge3WCRWf4cyQZZCArnyAAfQ+1e7hVAwFAGMdKAo44HHA4oA+WtI8QWV74F+E/g2C11M61ofiCxj1SBrCVRZmMuh8xiu0ZJGME5HNeheDPDaz6n8W9SsdNiTxBc6tPDZXkkeJARaR+VtYjgBmPI7k17HtXJ+UcnPSlAAzgAZ60AfLHwk0mwvJPAml6l42a11jRLmOU6MnhnyLqK4VGWRJJgMlTlsuThuDXrH7Q+l2+s6b4P0+8she2kviywFxCyFlZPnzuH931zxXp21dxbaMnqcc0EA4yM80AeIWHg/QJfjv8QWl8N2TQHw9ZrGGtB5eXWUPtGNuSFUHHPArkPCVxb6Tpnwi8ReOrO4m8O2nh65tRLNaPNHZ3paMRPIoBK/uldQxHH419P4Gc4GaQqpXaVG30xxQB8uapp32rwv4p8Rafot4fAV34x0/UDYpaOn2iyjCi6lWDAby2kAbGPmCk45rXBsPEnxN8Xaj8NtPkt/t/gWe2tL6Kza2iubsOQpQsBkrlRux274r6N7Y7UgVVxhQPoKAPmT4RabpOoax4Ghk8bFNS0Mhk0eLwz9kuIXERWSKaQDheuSeGIB5r6cpAqhiwUAnqcUtABRRRQAUUUUAFePeM/Dr+IP2jdPjbUdb0yKPwrIftGm3LQMW+1D5S4HI74r2GjAznAz60AfPfxf1CbS/Edz4Xn1CPS7aLQUFvqV5oh1S81hmMgaAORjK4GR1JfPSovhpb3n9qfBhpoLgNF4NvUkLo2UbZAAGz0PHQ19EEAkEgEjp7UBV4+UcdOOlAHzL4YlXw34S+DfizWIbqDStLn1GC+mFu7m2MwkWNnVQSFJGM47iqOrvH4l8G/GW9t7C+ax1PX9OaFZrV4nmixApYKQGwQDz6V9UbV27dox6Y4oKqc/KOevFAHgvx20RtE8XeB76wmg8O+GLBLqKW5j0hby3tbhkQRM8OMDKqyiQj5fbNdd+z5penWGi63eaX4mfX4dR1R7l5V042cKSFFDCKPGNpwCSOCc+9emkAjBAI9KAABgAAUAeH+FPEWnfC7x7450zxp9qsLfWdYbV9Mv/ALLJLDcxyRopTcinDqykbTz0xVb4l+NUv/E+iPF5Ph3Sr/SJJ4dY1Dw493cTt5m37IsbD5CR8+Dy2RgV7wyqw+ZQfqKCAcZAODkZoA+Z/CFwfDXw9+DHibW4b2HTdIur6K+l+yOWthLHNHGzoASi5wOnGRUkT6B4os/ivf6tPq+kaPf69p81tff2dIWQpBCY5miKktFuQE7hgg84r6UKqV2lQR6Yo2jngc9eOtAHy74p1HxN4q+GlrdNHB/ZejeLoDc6tp+jMYb60RM/ajaN99VdgGHIO3I4FeifAmx0ybxV4i8Raf42XxHLeW9tDcrb6P8AYbdShfY3A2u+CQSOQMZ7V6+AAMAAD0pFVVGFUAegFAC0UUUAFFFFABRRRQAVT10E6HfgAkm2kwB/umrlFAHylbL4m8F+BPAGv+FtMupr7xT4UtfDlwiIf9Hu/LBtrhx22hpAc+1dTZ6PL4H8Z+L7HR9BOsR6V8P7OG3tGiJS9kR59yHj5ixySOp3e9fQe1cAYGB0pcDOcDPrQB80/C7UJNW+M/hy+i1qDVV/4R+9WcWWgGwgs2PkkQbsfOQQflPK496b4N0ODUtK+BtpqulfabeG41OWSKeElUYK5QsCMdcEZ719LhVHRQPwoCrx8o46cdKAPm3x5oL/APCEfGvTtM0ljCmqW13BbQ25Iz5MDytGoHU4Ynb71J8TNRtNV8V+BvF+ka0uleE47G7gTUm0Q3VvbXRKffiYDYWUMocjsRnmvo/A54HPWk2rt27Rt9McUAfOD+F9Hn8BeHbKHUz4p0vU/H0N3Of7NNrAAwO9EixgR7hnj5SWNa/iGKTwz49+KV5ofhaHUE/4RmxnXThbfuLqQGZTlFGGwoGQOSBiveNq4AwMDpx0pcDOcDPrQB80fDi8k1L4vi8g1yLW4T4Ru45JrPQjYW8T+ZERCDj94Rz15X8TU/hbwzp2n/Bz4RX1nokdtqKa/YTSzJb7ZgZGcSFmxuwQcHPGMV9HhVHRQPwo2rgDaMDpxQB4H4Vv/CGi+KvGOh+PNFkuvEWo+JXuLYSaW9w15AxT7M0TBSNqAeo24J4ri9V0eObU/HHhrxh4z/4R+41TXbmYQSeG/tM9zAzg28kNwAWbCBAMfcK4r6w2rkNtGR0OKCqkhioJHQ46UAQ6fGYbC3haV5ikSqZHGGfA6n3NeBRX+o6D8NPiZf2+gxalJ/wmdwfKu7Rp4kjZoAZzGBmRUGXwOu2voSkwADwOaAPmPwnHpus+IPiH/a2vXesaHe+F4IbnUtO0NrION8obykUHzCoP3gD6dqi1nVtQ1b4MeOtBtZLTW7Cwh09LLXbHSmtTdEzpmNo8YZ4woJK/L83QHNfUIVV+6oH0FG1du3aNvpjigDyX4Ewv4f17xH4V8Q2jt4rNwb6fV3Qn+2bdziOYN0XaPkMY4XHAwa9bpMDO7Az60tABRRRQAUUUUAFFFFAHCftCRyTfA7xpFDG8kjaNchURSSTsPAA61w3xG1y40uTwVp8z2Oh2c2jF21260Y37RyKsYFqi4wrODnnrtwK90IBGCMikKqQAVBA9qAPlzw5a6bH8FvCF9q3iCfw/qGm61qU+mXV3ozSW5YzSqUmgxiMMjfKOCP4at+NYPGXj7R/AUmm2f9gazd6TquYIYmhikUbP3eThoVmUcHhlD19MFVIwVBHpilwM5wM0Acl8INU0XVfh/pr6FpLaLbWyG1fTWiMbWcsfyvER3IPfv17159+z34SaTT9R1ubWfElo6eJdRcWKXrR2rgXD4zFjBB/WvbgAM4AGaAAOgAoA+fvDvhW4ufhb8V59C0oJ4lv9a1lLecR7Z3O5lUIx5GVJAxxz71mfCTTtL1TxL4Okh8dh9S0W2kEWkweGvsUkWYdjxTuBwAecN1IBFfSgAHQAUgVQSQoBPU460AfH93d+Frb4NaR4XvtDnXxvYeI7d9QZ9NcSwzG/XfO8xXG11IAO47twH09I1rxBY+D/AIlfE211q31FZvEFjayaSsFlJN9sK2zRMiFQQWDdQcYBzXr3jPwzpvizRf7J1Qzrb/aILgmFwrF4ZFkTnB43KM+1bZAJBwMjoaAPlV7TUtP0T4R6tqGqNoOkWvhc2xvZ9I+3RWt2yx4Dxn/VlkDAOfQjvWyfCujS+BfCthBqR8U6VqPj+K7nZtNNtBhw5dVixgRbhn+6cmvpAqpXaVBHpjijauAMDA6cdKAPnf4i+HtR/t/4u6b4R02WCa98Mae8cNmnliZw0ocLjA3mNdvHPSt60tvhx8S/Aep+GPCemrbXp0RYfPTTHtzaspBjjZ2QfOsiqdvJGCa9rwM5wM+tNeMNG6KSm4H5l4IJ7/WgDxP9njUNR8eeINQ+IWsW0kEllYQ+H7eOUcrNF814w+suBn0Svbqw/AvhfS/Bvhm30DSPPa2hZ3Mk775ZXdy7u7YGWLMSeK3KACiiigAooooAKKKKACjvRRQAUUUUAFFFFABRRRQAUUUUAFFFFABRRRQAUUUUAFFFFABRRRQAUUUUAFFFFABRRRQAUUUUAFFFFABRRRQAUUUUAFFFFABRRRQAUUUUAFFFFABRRWN4k8R2Oi+XAyyXd/PkW1lAN0sp9cfwr6scAU0gbNS7uLe0t3uLqeKCFBl5JGCqo9yelSRusiB0YMrDKsDkEetcRFot5rNwmoeLGiuCpDQaah3W1ufU5/1r/wC0eB2FJHY6p4YkM3h1TeaZnMmku+NnPJgY/d/3Dwe2KwWJoufJza/gVyTS5rHc0Vm+H9c07XbM3GnzFtjbJYnXbJC/dXU8qfrWlW7TW5NwooopAFFFFABRRRQAUUUUAFFFFABRRRQAUUUUAFFFNkdY42kkYKigszE4AA70AOrNvPEGhWUhjvNa063cdVluUUj8Ca42e5vvGTNcSXFxZ+HiSLe3iYxyXq/89JGHIQ9lGMjk+lXrHRdHsYhFZ6XZQIOgWFf54yaUpwg7PcydR9Dc/wCEs8Lf9DJo/wD4Gx/40f8ACWeFv+hk0f8A8DY/8azPsdn/AM+lv/36X/Cj7HZ/8+lv/wB+l/wqfbQ7MXPI0/8AhLPC3/QyaP8A+Bsf+NH/AAlnhb/oZNH/APA2P/Gsz7HZ/wDPpb/9+l/wo+x2f/Ppb/8Afpf8KPbQ7MOeRp/8JZ4W/wChk0f/AMDY/wDGj/hLPC3/AEMmj/8AgbH/AI1mfY7P/n0t/wDv0v8AhR9js/8An0t/+/S/4Ue2h2Yc8jT/AOEs8Lf9DJo//gbH/jR/wlnhb/oZNH/8DY/8azPsdn/z6W//AH6X/Cj7HZ/8+lv/AN+l/wAKPbQ7MOeR0Gn6vpWoNtsNTsrs4ziGdXP6GrtcJqHh7RL/AAbjTLcSKcpLGvlyIfVXXBB/GpdB1bUNE1W30fWrp76xu28uxv5MeYknUQynuSM7W74weetxlGfw7jVTXU7aiiig1CiiigAooooAKKKKACiiigAooooAKKKKACiiigAooooAKKKKACiiigAooooAKKKKACiiigAooooAKKKKACiiigAooooAKKKKACiiigAooooAKKKKACiiigAooooAKKKKACiiigAooooAKKKKACiiigAooooAKKKKACiiigAooooAKKKKACiiigAoJwM1R1vVtP0Wwe+1K5S3hXgE8lmPRVA5Zj2A5rlJ49X8V5OprNpWiH7tirbbi6X1mYfcX/YHPqe1TOcaceabsgSbdkWtS8TXeqXEmm+E1jlKMUuNTkGbeA9wn/PV/YcDue1S6FolppRlmVpbm+uMG5vJzummI9T2HoowB6VoWtvBa28dtbQxwwxqFSNFCqo9ABUleTiMXKr7q0j/AFudVOio6vcKKKK5DYxtZ0Jbq7XVNOuX03V41CpdxDO9Qc7JF6OvseR2IqxofihmvU0fxDbppuqNkRENmC6A7xOe/wDsH5h79a0aq6rp9lqlk9lqFulxA/VWHQ9iD1BHqORXdh8a4LlnqvxX9djCpRvrHc6CiuJg1DV/Cnyag1xrGhjpcgb7q0Ho4HMiD+8PmHcHrXX2N5a31nFeWVxFcW8q7o5I2DKw9iK9SLUlzRd0c2qdmT0UUUwCiiigAooooAKKKKACiiigAooooAK5b4nsz+GBp6O0f9o3UNmzKcEI7jfj/gIYfjXU1ynxL/49NE/7DNv/ACaqi7O5E/hY9I0jjWONQiKAqqOgA6ClFLRXAZBRRRQAUUUUAFFFFABRRRQAVl+LLNb7w5fwY+cQtJE3dZE+ZGHuGANalQah/wAeFz/1xf8A9BNXTbU00J7G74av/wC1PD2nan3urWOY49WUE1oVznwv/wCSc+Hf+wdB/wCgCujrrluzoWwUUUUhhRRRQAUUUUAFFFFABRRRQAUUVHdXFvaW0lzdTRwQRKXkkkYKqKOpJPAFAElcZ4x8dR6dqDeH/Dtn/bniMpu+yo+2K1U9HuJOka+3LHsO9Yl94o1vxwzWvhCWXSfD5ysuutHia5GeVtUYcA/89WGP7oPWtbw5oWl+HtP+w6TaiGIsZJGLFpJnPV3c8ux7kmgDKsfGPiPwpJt+IAtr3S5SCNa0+ApHasx+5PFyVQZwJBkY+9jrXpNtNDcwR3FvNHNDIoZJI2DKwPQgjgiucZVZSrKGUjBBGQR6GuRi0nWvBc733ghFutMZi9z4fmk2x8nJa2c/6puvyH5D/s9aAPVaKw/B3irR/FVi9xpkzrNC3l3VpOhjuLaTukiHlT+h6gkVuUAFFFFABRRRQAUUUUAFFFFABRRRQAUUUUAFFFFABRRRQAUUUUAFFFFABRRRQAUUUUAFFFFABRRRQAUUUUAFFFFABRRRQAUUUUAFFFFABRRRQAUUUUAFFFFABRRRQAUUUy4mit4XmnkSKJAWd3bCqPUk0APrnfEXidLK6/srSrY6nrDLkW6NhIR/elfoi/qewrMuda1TxOTB4deTT9KyRJqjJiSYdxAp7f8ATQ8egPWtLRdKsNHtDbWMHlqzF5GJLPIx6s7HlifU1z18TCjpu/63/wAi4U3P0KGmaHJ/aA1jXboanqoz5blcQ2wPVYk/h/3jlj69q3KKK8epVlUlzSZ1xgoqyCiiioKCiiigAooooAK5+40a80q8k1TwtJHBLIS9xp8hxbXR9f8Apm/+0OPUGugorWjXnRd4sicFNakfhvxHZ60ZLfy5LPUYP+Piyn4ljPr/ALS+jDINbVctrui2mrCKSRpLe8gyba7gbbNCfVT6eoOQe4qGw8SXmkTx6d4s8tA7BLfVI12wTHsJB/yyf6/Kex7V7NCvCv8ADo+3+RyTg4b7HX0UAggEcg0VqSFFFFABRRRQAUUUUAFFFFABXKfEv/j00T/sM2/8mrq65T4l/wDHpon/AGGbf+TU0RU+FktFFFcJkFIzKqszsqqoyWY4AHqTS14h+1LLcalqXgLwNJqE1ho/iPWPJ1OSJ9hkjXbiMt2BJ/lTSuxpXPX5Nc0WPT59Rk1jT1srf/XXH2lPLj/3mzgfjV2GSOaFJoZFkjdQyOpyGB6EHuK8F+OPwy8F+B/gl401Dwto/wDZclxpsdvMkcrlHUTIQSpJ+b3rG8X/ABi8QaFfaN4M8M3Wj6U1l4ftbq6vdSs57kSu0SlYkSJWI4x8x4qlG+w7XPpaivANR+Lviq++GPhjxHa6l4Z8KX2omdLyPVreeV3eNto8iFFLsDySccZFZifHLxlc/A+z8WWdppL64vidNFmHlMLe4U5+ZVPKZ469PSjkYcrPpKisTwTH4oj8Owr4yuNMuNY3MZn09GSHaT8oAbnIGAT3rbqCQqvqP/IPuf8Ari//AKCasVX1H/kH3P8A1xf/ANBNVD4kJ7Fv4Yf8k58O/wDYOg/9AFdHXOfDD/knPh3/ALB0H/oAro67Z/EzojsgoooqRhRRRQAUUUUAFFFFABRRXD+L/Gl5HrE3hbwjYrf65GiNdTT5W009XGVaVurMRyI15Pcgc0AbXjLxZo/hW0il1KSSS4uG8u0srdPMuLp/7saDk+54A7kVxD6PrPjG6j1HxyqQ2CMHtfD0Um+FCDlXuGH+uf8A2fuD0J5q/wCGvDEGl3kur393Nq+vXC7bjUrkDeVznZGo4jjHZF/HJ5roKAEACgKoAAGAAMACloooAKKKKAOe8SeGItSvY9Z0y8l0bX4F2walbqCxXOfLlU8Sxn+634EHmrvhfx1KNTh8OeMrWLSNakJW2lRibTUMd4XPRvWNvmHbcOa1Kpa5pOm65pkumatZxXlpKPnjkGRnsR3BHYjkUAdnRXllvrevfD2Nv7Ylu9f8KRgn7aRvvdOT/pqOs0Y/vj5wOoPWvTrS4gu7SG6tpVlgmRZI3U5DKRkEfUUAS0UUUAFFFFABRRRQAUUUUAFFFFABRRRQAUUUUAFFFFABRRRQAUUUUAFFFFABRRRQAUUUUAFFFFABRRRQAUUUUAFFFFABRRRQAUUUUAFFFFABRRWR4l8T+HfDVq114g1zTtLhA3Frq4WPj2yeaANeivnnxx+138LdCEsWjNf+IrlMhRaw+XET/vvjj3ANeNav+1L8Y/HUzad8PfCa2JclQ1naveTjP+0RtB/4DQB9peLfE2keGLBbrVbkRmQ7YYgR5kzeij+Z6Dua43w/eWnxBabUL3VtP1CytJ/L/suxuVmghkGCPOdeJHxg4+6PfrXyvB+z7+0F8ULyHUPH2uNZR4JVtTvDI8YPULEmQv04r3H4G/DZfgONT03VNWub6w1WaNo9Q8sLbRuoIw45MbHOMklTgcis6/P7N+z3/H5Dhy83vbHtYAAAUAAcADtS0gIZQykEEZBHQilrwDvCsP4g6ldaP4D1/VrF1S7stNuLiBmUMFdIyykg8HkdK3KwfiJp93q3gDxDpdhF5t3d6ZcQQR5A3O0bBRk8Dk1ULcyuJ7GB8JvGE2qfBHRfGviu+gjkk037Xf3JURooGdzYHA4HaqvgT41+A/GWurouk3WoRXksD3FsLyyeBbqNRlmjLD5hjmvMPDPhv4pa18DZvg/rXgM6DCujtbw6w+qRSK8yMHRWjXJAYjaTk4Gah+FPw98cQeKtDutf8G6tZXehWM0Vnqd94nF3bxS+UVXy4AMhC2OM4Aro9lD3m3+KM+aWh6X4e+PHw/1zxJZ6DbSavb3F/IYrKW702SGK5cfwozDkntV5PjJ4Jf4ey+OBcXv9mRX39nvH9mP2gXG8J5fl9c5IP0rwvRPh/wDGrUvGHg6+8WaPqtw+j67HdX17c69HNA6Bj88NuMCMAemSfSuhm+EfjBvjlLYLYJ/wrqfxEniWWYSrzOsZPlbM5/1h9MVTpUr7/iJTkekeK/jr8PPDPiCfRNSvb9p7Uot7Lb2MksNmzYwsrqMKeeR2qz4u+M3gbw14gh0O6ub+9u5IIrhv7PsnuEhik+47svABBB+hrxPxX8KPH1j4v8Z29v4X1bxJoniO/ku0ax8TLYQlX6pPEQd2On0FanxJ+H/xCHiTTG+H/gyfSNRs7GztIPENrryohjRFDRXELD96FIIBxyAOvSj2VLTX8UHNI+nAQQCOhGRS1HaiZbaJbhleYIokZRgFscke2c1JXGbBUdzBDc28lvcQxzQyKVeN1DKwPYg9akqO5nhtreS4uZo4YY13PI7BVUepJ6U1e+gnbqYEEWr+FTu0lZtU0UH5tPZt09svrCx+8v8AsH8D2rlfG37Snwu8Iawmlarf6g9w0KzHyLNnCg5+VuhVgQcqRkV1UEur+Kzt0tp9K0U/ev2XbPcj0hU/dU/3z+A71j+J/wBn/wCE/iS/W/1jwstxdCMRmUXUqswGeWwwy2Sck8mvoKXtOT978X9b+f8ATOCXLze5t/WxyQ/a7+DR63+sD66c3+NPX9rj4MH/AJimqj66dJWi/wCy18E2/wCZUkX6X83/AMVUT/sqfBVv+Zcul+l/L/8AFVQFdf2tPguf+YzqQ+unSf4U9f2sPgqf+Y9fD66dL/hSN+yd8F2/5gd+v01CT/Gom/ZI+DDf8wrVB9NRegC0v7VnwUP/ADMl0Prp03/xNPX9qj4Jt/zNE4+unz//ABNZrfsh/Bo9LHWV+mot/hSL+yD8Gwcm01th6HUT/hQBsL+1F8E2/wCZtYfWxm/+JqVf2nPgo3/M4oPrZzf/ABFYEn7IHwdZSFt9cjPquoHj8xULfsd/CMnKtr49vtw/+JoA6pf2lvgo3/M7W4+ttN/8RVLVPjN8NPGmp6BofhnxVbahqMmrQukCxSKSqhiT8ygcCubl/Y2+FLfduvEMf0u1P80qKz/Zu8DfDfxT4e8VaFfazLew6pHGqXMyNHh1YHgKD+tNEz+Fnt1FFFcJiFcn8UPAOg/ETw8uj66s8fkyie1urd9k1tKOjo1dZXLfEL4geE/AVnBc+JtUW1Nw223gRGkmmPfai8n69KavfQaOOPwShuvDmtaTrfjzxTrcmq2a2X2i9nD/AGeIOr/InTJKjJPNWfFHwa0/VNT0/WNH8T674b1e00+PT5LzTpFBuoYwAokUjBIx1rofh18SvCfj6W8g8O3dy9zZBWuLe5tXglRWztO1hyDg9K7HB9DT5pId2eVa/wDBez1W08POvjPxNa6xoSSxw6us6vcypKcuHJGPpjoKgtvgToNv4HXwmmuarJbL4gXXfPl2vKZV/gJ7g9z1r0/XNV03QtLn1TWb6DT7G3AM1xcPsSME4GT25IFWbeSO4hjmhYSRyoHjZeQykZBHsRRzMLsfRQetFSSFQX+PsNxnp5L/APoJqeoNQ/5B9z/1xf8A9BNVH4kJ7Hx9pvhT9rSbT4Ljw/q2qrpEiBrFU1SFQsJ+4AC2Rxjipz4X/bNTpqmtH/uJwH+tfYfwu/5Jx4d/7BsH/oArpK7Z/Ezojsj4W/sL9tBP+Yhrp/7frc/1pP7M/bRT/l515v8At6tj/WvuqipGfCht/wBtJP49fP8A21tj/Wkz+2kn8HiA/jan+tfdlFAHwn9q/bSX/lj4gP8A2ztTS/2p+2gn/Lp4gP8A262x/pX3XRQB8KHxB+2dH10/xAf+4fAf6U3/AISz9sqPrpmvH/uEwn/2Wvu2igD4RPjr9sWPrpOun/uCRH/2SvSf2etV+J8nimXVfijDdWtzr2+yijubNbYmS2QSIwUAA5R5Bn/YxX1LXD/G2xaXwQ+tQRs13oFxHq0G37xEJzIo+sZkH40AaVFRWtxDd2sN3bOJIJ41kjYdGVhkH8jUtABRRWN401PVtI8O3F7oehya5qIKpBZJKI97McZZjwqjqT6CgDZory34U/EvX/EfjvXPBPizwxbaNq+lW6XBazvPtELIxGAT2bkfrXqVABRRRQByXxSzeaDbeGYZmiuPEN7FpqlfvCNjumI+kSvXqEEUcEEcEKBI41CIo6AAYArzjRUj1z4xuzR74fDOncMeguro9vcRJ/5Er0qgAooooAKKKKACiiigAooooAKKKKACiiigAooooAKKKKACiiigAooooAKKKKACiiigAooooAKKKKACiiigAooooAKKKKACiivIPH37SPwl8Hzy2lz4h/tO9jJV7bTYzMysDggtwoP1NAHr9Br4r8WftneINUuXsPh/4JVHfiKW8LTyk+ojTj9TXOp4b/at+L8bPqV3qmmaZMeVuphYQEHsI1wzD8DQB9feOfi38OfBcLt4g8W6bbyr/wAu8colmJ9NiZNeD+O/21fDNmGg8G+Gb7VZe0964t4vwUZY/pVDwP8AsT6fGEuPGvi6e6lzue306PYp9vMfJP5CvevA3wP+Fvg3ypNG8H6ebmMcXV0n2ibPrufOD9MUAfKEnxN/ag+LVwYvC2mX+l2L8A6da/Z4gPeaTk/gfwrV8M/se+OvEd62pfETxlFbSSHdII3a8uGPu7EKPzNfbyqqqFVQoHQAcCloA8P8Cfss/CTwyiPdaPLr90OTNqUu8Z9kXCj8jXsmkaVpmj2SWWk6faWFsgwsNtCsaD8FGKuUUAFMnijnheGaNJI3Uq6OMhgeoI70+igDirjQ9T8MsZ/Dqvf6V1fSmb54R3MDH/0WePQjpWjourWOsWn2qwm3qDtkRlKvE3dXU8qR6GukrnvEPhmO+u/7V0u4OmawoAFzGuVmA6JKnR1/UdjXPXwsK2uz/rf/ADLhUcPQt0Vh6Zrki366Pr1qNN1Uj5F3ZhufeJ/4v904YenetyvHqU5U5cslqdcZqSugoooqCgooooAKKKKACiiufn1i91a8k0zwrHHPJG2251CUZtrY9wP+ej/7I4HcitaNGdaVooidRQV2Tat4n0iwun09Lhb3VFZVGn2rCS4LMMjKA/KMc5bAA70un+GrzVriPUfFhjk2EPBpcbbreAg5DOf+Wr+5+Udh3r5M+N3wb+LHw18bXfxU8DeItS1tnkae7uYxi7iz94PGOJI+OwwB1HGa9N/Z8/ao0Hxibfw/458jQtfYiNLgnba3LfU/6tj6Hj0PavYoUI0Vdb9/8jknNzeux9KjgUUisGUMpBBGQR3pa2JCiiigAooooAKKKKACiiigArk/iX/x66J/2Gbf+TV1lcn8S/8Aj10T/sM2/wDJqaIn8LJqKKK4TIDXz54svLLRv2thqHimW1torjw55Xhy6v8A/j1iuR94EngHOc9+fcV9B1keKfDPh7xTp4sPEejWWq2ytuWO5iDhT6jPQ/Sqi7DTPnuX4ieMdW0H4s6Trd14abUNB0JZINU8Oh03F8nAkLZOPwwc1W1NE0P4ReFLzWvG3jrUNY8ZNbTBLfVUtgX8rPliVxthjwwyeSSBXvekfDrwLpGjX+j6X4V0u0sNRj8q9hihwJ0/uuepH41a1jwX4T1jw5a+HNU8P2F5pFoqLbWksW5IQowu3uMDiq5kVzI+RrybVdd+A/xP03U9d1m4tvDmp28likuqrdthjtaOSZRiVOc8YGQD2rovHN9e6Lo3w58F+HPFWtXuharby3V3cpr0cE8swVT5AumBVFXPC/hX0lpHgPwZpGmahpmmeGdMtLHUUCXlvHABHOoGAGXoeKrv8NvAMnhiPwzJ4S0p9HilM0do0AKJIerDuCfXNHOg5kcl+zLJ4oHhnWLLxHqa6jFa6iU0931OO+mjhKg+XLLHwWHvjrXrNZHhXwz4f8K6adN8N6PZ6VZlzI0VtHtVmIxuPqeOta9Q3dksKg1D/jwuf+uL/wDoJqeoNQ/48Ln/AK4v/wCgmnH4kS9iz8Lv+SceHf8AsGwf+gCukrm/hd/yTjw7/wBg2D/0AV0lds/iZ0R2QUUUVIwooooAKKKKACiiigApk8Uc8EkEyB45FKOp6EEYIp9FAHlvwtaa10G58OXQIuPD97Lppz/FEp3Qt+MTJXWVzusRSaN8YhIGAs/Eem9PS6tj/NonH/fuuioAK5T4tXul2XgLUf7b0fVtX0y4C211baZGzzmNzgsApBwO5BzXV0AkdOKAPmv9mbSprL4s+IbrwdouvaV4AnslyusQlZJLoEY2FvmIA3dSf5V9KUEk9STRQAU2WSOGJ5ZWCxopZ2PYAZJp1cp8U3mm8Lf2FaTGK7125i0uFh1USnEjD6Rhz+FAGx8E7e4k8ISeILyPZda/eS6kykcrG5AhX8IlSu5qGytobOygs7dAkMEaxxqOyqMAfkKmoAKKKKACiiigAooooAKKKKACiiigArG8UeILfQI7RprS8u5LufyIYrZAzltrN3IGMKa2a474j/8AIT8Lf9hNv/SeWtKUVKVmRNtRuh//AAm5/wChV8Q/9+Y//i6P+E3P/Qq+If8AvzH/APF0UV0+yh2MueXcP+E3P/Qq+If+/Mf/AMXR/wAJuf8AoVfEP/fmP/4uiij2UOwc8u4f8Juf+hV8Q/8AfmP/AOLo/wCE3P8A0KviH/vzH/8AF0UUeyh2Dnl3D/hNz/0KviH/AL8x/wDxdH/Cbn/oVfEP/fmP/wCLooo9lDsHPLuR3Pj+G1ga4uvDevwQJy8jQR4Qepw/SuyHIrzfxz/yKOp/9cD/ADFejr90fSsa0IxSaLpybbTFooorA1CiiigAooooAKKKKACsDxb4iGkLFZWMIvdYuwRa2oOB7yOf4Yx3P4Dmjxb4iGkLFZ2UIvdXu8i1tQcfV3P8MY7n8BzWVoWkmxaa9vLg3uq3ZDXV0wwW9EUfwovQL+J5pTmqauy6dN1HZbFJNB1iVfNvPGmvfaH+aQW0kccQY9QilCQvpyad/wAI9qH/AEOnif8A8CIv/jdb9Fcn1ur3/I6/q1LsYH/CPah/0Onif/wIi/8AjdeQN+yh8O7rXL/VdU1HXb17u4efy/OSNULHJHC88k+le/UVLxNR7saw9NbI8/8ACnwq0bwhamLwlqV/pDgfK8ccByR03ny9zD2JrvfCPiKTUJZNJ1aFLTWrZcyxKfkmTtLET1U/mp4NPrM1/SI9Uiikjme0v7ZvMtLuMfPC/wDVT0KngitqWJbdqn39jKphla8Nzs6K5zwj4ik1CWTSdWiS01q2XMsSn5Jk7SxE9UP5qeDXR10tWOVMKKKKQBRRRQAUUUUAFFFFAFLW9J0/WrBrHUrVLiFiGAbgqw6MpHKkdiOa5OZtX8J/LqLT6toi/dvQu64th6SqPvqP74GR3Heu5oPPWpnCNSPLNXQJtO6MS1uILq3jubWaOeGRdySRsGVh6gipax9S8M3el3MmpeE2jhZ2L3GmSHFvcEnkr/zzf3HB7jvUmh63aaqZYVSW1voOLizuF2zRH3HcejDIPrXk4jCSpe8tV/W51U6ylo9zUooorkNgqrquo2Wl2T3moXCW8C/xN3PYAdST2A5NUNZ1xba8XS9Ntm1LV5BlLWI4EY/vyt0Rfc8nsDVnQ/C7LeprHiC4XUdUXmIAYgtPaJD3/wBo/MfbpXdh8E5+9PRfi/67mFSslpHczrfT9Y8VYk1FbjR9EOCtqDsubsf9NCP9Wh/uj5j3I6V2FhZ2thZxWdlbxW9vEoWOKNQqqB2AFT0V6kUox5YqyObd3e4V88ftB/sv+GfHouNc8KiHQPEbAu2xcW123+2o+6x/vD8Qa+h6KYHwT8O/jP8AE/4B+IU8E/ErS72/0aJgqRztulhjHG63l6On+yTj0xX2l8PPHXhfx/oEet+FdWhv7ZwN6g4khb+66HlT9ab8RvAfhb4g6BJovirSob63IPluRiSFsfeR+qmvi34hfBz4ofs++IX8a/DfVb2/0WM5eWFcyRJ12XEQ4dP9oDH0oA++KK+ev2fP2nvDPxAEGieJ/I8P+I2wqq74trpv+mbH7rH+6fwJr6FoAKKKKACiiigAooooAK5P4l/8euif9hm3/k1dZXLfFBHXwx/aCRtJ/Z11DeMqjJKI434/4CWP4VUVd2IqfCx9FNjdJI1kjYOjgMrDoQehp1cBkFFFFABRRRQAUUUUAFFFFABUGof8eFz/ANcX/wDQTU9ZXiy8Fj4cvp/4zC0cS93kf5UUe5YgVdNNySQnsa/wu/5Jx4d/7BsH/oArpKz/AA1Yf2V4e07TeP8ARbWOE49VUCtCuyTu2dC2CiiipGFFFFABRRRQAUUUUAFFFFAHB/G+18vwlB4kiDfaPDl5HqalRyY0ysy/QxM/5CtSKSOaJJoWDxuoZGHQqRkH8q6O9toL2zms7qJZYJ42jlRhwysMEH6g15X4ct/iB4f0O10JvBa6munobeK7TWIkE0aEiNtrLkHbtyD3oA7Oiuc/tDx7/wBE5P8A4PIP/iaP7Q8e/wDROT/4PIP/AImgDo6K5z+0PHv/AETk/wDg8g/+Jo/tDx7/ANE5P/g8g/8AiaAOjrmrGNNc+MdrEQXg8Nae1y/90XNzlEH1Eauf+B07+0PHv/ROT/4PIP8A4mtn4XaLqmm2Oqalr1rFa6tq+oSXU0McokEUYASKPeOGwiL07k0AdhRRRQAUUUUAFFFFABRRRQAUUUUAFFFFABXHfEf/AJCfhb/sJt/6Ty12Ncd8R/8AkJ+Fv+wm3/pPLWtD418/yM6vwj6KKK6zEKKKKACiiigAooooAxfHP/Io6n/1wP8AMV6Ov3R9K848c/8AIo6n/wBcD/MV6Ov3R9KxxHwr5/oXS+Ji0UUVym4UUUUAFFFFABWD4t8RLpCxWdnCL3V7vItbUHGfV3P8MY7n8BzW9XnvhFVn1XxHqE37y7Orz23mtywijICID2UZPHvSlJQi5MqEeeSiXtB0k2LTXt7cfbdVu8G6umGN3oij+FF7L+PWtSiivOnNzd2ejGKirIKKKKgoKKKKACiiigDM1/SE1OKKSOZ7S/tm8y0u4x88L/1U9Cp4IrQ8I+In1CSTSdWiS01q1UGaJT8ky9pYieqn81PBp9YHjSNEj0vUEGy7ttTtVhmXhlV5kR1z6MpII712Yaq21Tlt08jkxFJWc1ud/RRRXScoUUUUAFFFFABRRRQAUUUUAFY3iXw5Y60I5maW0v4Afs17bnbLCfQHuvqpyDWzRTTA4dNavNFuU0/xYsUG47YNSjG22n9mz/qn/wBknB7GkjvdU8UO0Ph5mstMyVl1Z05f1Fup+9/vngdga63W2sI9IupdUjikskiZpllUMpUDJyDwa474R+NR4qj1C3nWOGa3mLQxKMYgJ+UY9un5VgsNRUufl1/Arnm1a51fh/RNO0Oza20+ErvbfNK7FpJn7u7Hlj7mtKiit229yUrBRRRSAKKKKAChgGBVgCD1BoooA+Zv2gv2VNB8XfaNf8B+RoWunLva422ty3XoP9Wx9Rx7d68r+Fvx/wDiB8G9eHgb4saXqF7p1uwjDTjN1bJ0DIx4lj9Ofoe1fdtcf8U/ht4R+JWhNpPinS47jaD5Fynyz27H+JH6j6dD3FAGp4J8W+HfGmgw654Z1W31GxlAw8Tcof7rDqrD0NblfAPjH4b/ABa/Zr8SP4r8Falcaj4e3/vJ4kLIUz9y5i6f8CHHoRX0V+z/APtJeE/iVHDpOqNHoXiUgA2kr/urg+sTnr/unn60Ae6UUUUAFFFFABTZEWSNo5FDIwKspGQQe1OooA87mtb7waTbvb3F74eBzbzwqZJbJT/BIo5aMdmGSBwRxmrtprmi3abrfVrGQe065H4E8V29ZeoeHPD+oyGS/wBD026c9WmtUcn8SKUoQm7vcydN9DE/tDT/APoIWf8A3/X/ABo/tDT/APoIWf8A3/X/ABrQ/wCEK8H/APQq6J/4Ax/4Uf8ACFeD/wDoVdE/8AY/8Kn2MO7FySM/+0NP/wCghZ/9/wBf8aP7Q0//AKCFn/3/AF/xrQ/4Qrwf/wBCron/AIAx/wCFH/CFeD/+hV0T/wAAY/8ACj2MO7DkkZ/9oaf/ANBCz/7/AK/40f2hp/8A0ELP/v8Ar/jWh/whXg//AKFXRP8AwBj/AMKP+EK8H/8AQq6J/wCAMf8AhR7GHdhySM/+0NP/AOghZ/8Af9f8aP7Q0/8A6CFn/wB/1/xrQ/4Qrwf/ANCron/gDH/hR/whXg//AKFXRP8AwBj/AMKPYw7sOSRhX/iPQ7MES6nbvJ/DFC3myMfQKuSTUug6RqOt6rb61rVq9lY2reZY2EmPMaTHE0voR/CvbOTzXU6bo+k6YP8AiW6XZWfY+RAqfyFXquMYw+Hcap66hRRRQahRRRQAUUUUAFFFFABRRRQAUUUUAFFFFABRRRQAUUUUAFFFFABRRRQAUUUUAFFFFABRRRQAUUUUAFFFFABXHfEf/kJ+Fv8AsJt/6Ty12Ncd8R/+Qn4W/wCwm3/pPLWtD418/wAjOr8I+iiqmtLcvo18lkSLpraQQkf39p2/riusyOB8TfHD4c+H9buNHutWubu7tTi6FhZyXC257h2UYFd3oGr6dr+i2mtaRdLd2F3GJYJlBAdT355H418vfC7xVceGfgKR4T1Hwpp/ibTbi7l8R2uuAi4nZSSAoyCzHGBnjtW/pHjm6uPGHwZ1rVNQttE03VdKvHu4IZPs9mZMHGVzt64xnuayU+5Tie3fETxfpfgXwy/iDWkuGtFmihIgTc26Rtq8E9MmmaL400nVvHWseDbVLn+0tJt4bi4LJiMpIAV2nPJ5Ga+YfF+uz6/8Kfibctq0upWaeN7ZbKQzmRFi8wYCdgv04rqta0fUtd+LXxfsNGvrux1P/hHrGa0mtpSjiWNUZRkc4OMH60e0dw5T6Zor55+CfjXVvin8StI1VLy7j07w94djXUoldljm1CUlTuXo2ApPtX0NWkXdXJasYnjshfB+qMxAUW5JJOABkV20fiDQWUbdb008drpD/WuA+KFq198OvEFiriNrmwlhDEZCllxn9a+dU/Yj8QBcj4g6fnHaxkH/ALNWWI+FfP8AQql8TPs5dY0lvu6pYt9Lhf8AGpV1Cwb7t9bH6Sr/AI18VP8AsU+Ll/1PxA00/W3lH9ajb9jHx4v+r8e6Wf8AgMwrlNz7dW4t2+7PE30cVIGU9GH518Mt+xz8S1/1fjjSj/20nH9KY37IPxYX/V+NdKP/AG9Tj/2WgD7qyPUUV8J/8Mk/GNP9X400z8L+4H/stH/DKvxxj/1fjWx/DVLgf+y0AfdlefeCv9Z4i/7D13/MV8rD9mP9oCP/AFfja3/DWJx/Svev2ZtB1zwz8ObjQ/El4LzVbTV7pLmYTGXe24c7jyazrP8AdP5GtD+Ij1Ciig9D9K849A8p8L/HTw74k8RR6PpPhzxVOHvjYm8XTibaOQNtJZwcADv7V1fw08c6f48stVutNs7q2XTdTm06QT7cu8eMsME8HNeJfsnab4+ntr6+0nxXp1p4aj8TXX2vTZNPEk02GG7Ev8ORj6YrhE1a+074W6rbLqV3pWiah8R57XWr21Yq8NscZG4fdB9fauh04vRHOqkt2fahB9KMH0NfItjqP/CJ+LvHth8G9evtY0G28JNeEi7a7jtrzcACjHPzbcn8/SqHhiXw7puq/C3V/h/4y1PV/FusX8K69btqDzGSNgDN5sZOECncPwz71PsfMftfI+p/iR4rs/A3gnUfFeoWtxdWtggd4oMb2BYLxnjvWzpd2moaZa38assdzCkyq3UBlBAP518NeOZvD2seBfiJrfivxbqUfjyPWpbW30171kBt1kG2MQ9GTGTnttFfbHg7/kUNF/7B9v8A+i1pTgopFQm5NmrWB46Yrpdjjvq1iP8AyYSt+uf8ef8AILsP+wvY/wDpQlVhv4sRV/4cj0Ciiiu44AooooAKKKKACiiigAooooAKKKKAK+o2drqFnJaXtulxbyD543GQ31rlPhtouhWsVxf6d4eu9Kn894/9LH7wrx05+4e1dk5whJOMDrXNfDe4t7nQZJrbW7zWIzcuPPukKOpGPlwewoA6aiiigAooooAKKKKACiiigAooooAbNHHNE8M0aSRupV0cZDA9QQeor5Y+P/7J+m61JN4k+GbRaPqwPmPpu7ZbzN1zGf8Alm3t936V9U0UAfDvwh/aT8ZfDXWB4H+MWnahPb2zeWbmZD9stR23Z/1qe/XHQmvs7wr4i0TxTokGteHtTttSsJxmOaB9w+h9D6g8iuY+L/wn8G/FHRjY+JNPH2lFItr+EBbi3P8Ast3H+ycivjfXvCfxi/Zd8Strnh68k1Lw1LJ88yIWtpl7LPH/AANj+L8jQB+gdFeN/AT9oTwf8UreKxMi6N4iCjzNOuJB+8PcxN/GPbqPSvZKACiiigAooooAKKKKACiiigAooooAKKKKACiiigAooooAKKKKACiiigAooooAKKKKACiiigAooooAKKKKACiiigAooooAKKKKACiiigAooooAKKKKACiiigAooooAK474j/8AIT8Lf9hNv/SeWuxrjviP/wAhPwt/2E2/9J5a1ofGvn+RnV+EfRRRXWYnJeIfhr4A8Qam2qa14Q0i+vmOXnltxvY+5HX8at634G8H63o9no+reGtMu9Psv+PW3kgGyH/dHauiopcqHdnMD4feCRpV1pK+F9MSwu547i4tlh2xySJjYxA7jAxWna6DpFjrV9r1jptrDq17EsVxchcNKqD5FY+gwK1KKLILnnnwM+Hcnw+0XVUvrmzutU1bUZL67ktIykS7j8qIDzgDP516HRRQlZWBu5i+Of8AkUdT/wCuB/mK9HX7o+leceOf+RR1P/rgf5ivR1+6PpWWI+GPz/Qql8TFooorlNwooooAKKKKACvPvBP+s8Rf9h67/wDQhXoNee2gfw34jvtO1JQtvq1/Ld2N3/A7yYJhb+64xx/eHTnipqpyptI0otKomzoqKKK8w9Ep6PpOl6Pbvb6Tp9rYwvK0zpbxhFZ26sQO59arw+HfD8OnXenRaJp6WV5I0t1bi3Xy5nbqzLjBJ9TWpRTuxWRm6DoGh6Bava6Ho9hpkDnc8drAsasfU4HNQaR4U8MaPqMupaT4d0qxvZs+ZPb2qI7Z68gZrZoouwsjEv8Awh4Uv7+5v77w3pFzd3UZiuJ5bRGeVD1ViRkitmGOOGJIYUWONFCoqjAUDgAU6ii7CyCuf8ef8guw/wCwvY/+lCV0Fc7q5fxBrFtoGmr5hs7y3u7+4/5Z24jcOE93bA+XsDk1vhYt1U+xjiGlTfmehUUUV2nCFFFFABRRRQAUUUUAFFFFABRRRQBn+ItXs9D0mXUdQlMNumAX2FgpPAyBzjNc78MfE1vrVlLatqNne30TM8htLZ4o1Qn5fvDrV3x3q2lQadLo93BNqF1fRMkdhbKHmkU8bsdFA/vEgVjfBDT9L03wvJHaXHm3zTE3qOu2WJuioynlcD8+cU+V2uK6vY76iiikMKKKKACiiigAooooAKKKKACiiigAqK8tre8tZbW7gjuLeVSkkUihldT1BB4IqWigD5G+Pf7JyS3Enin4TSf2ffxt5zaV5hRCw5zA/wDA2einj0IrC+Cv7UWv+ENSHgv4yWV6fszeT/aEkRFzbn0mT+Mf7Q5+tfa1ecfGr4M+DPipphi1yzFvqaLi31O3UCeL0BP8a/7J/DFAHc6DrGl69pMGraLqFvqFjcLuingcOjD6ir1fnzdWHxn/AGV/EpurSQ6l4Ynl5Zdz2VyM9HXrFJjvx9SK+sfgZ8dfBfxVskhsLkadripmfS7lgJAccmM9JF9xz6gUAeq0Vm6/rul6FAs2pXSxGQkRRgFpJT6Ig5Y/QVhp4yvLgb7TwlrLxn7rTNDCSPXaz5/OqUXa5LnFbnXUVyL+LNaBGzwbfN9b23H/ALPTf+Et1z/oS7z/AMD7f/4qjkfdfehe0idhRXH/APCW65/0Jd5/4H2//wAVR/wluuf9CXef+B9v/wDFU+R9196D2kTsKK4//hLdc/6Eu8/8D7f/AOKo/wCEt1z/AKEu8/8AA+3/APiqOR9196D2kTsKK4//AIS3XP8AoS7z/wAD7f8A+KpU8Wa0T83gy9A9r23P/s9Lkfdfeg9pE6+iuRbxv9lYHVfDms2UR6zLGk6J7t5bEge+K6XTNQstTso73T7qK6t5B8skTblNDi0rjUk9izRRRUlBRRRQAUUUUAFFFFABRRRQAUUUUAFFFFABRRRQAUUUUAFFFFABRRRQAUUUUAFFFFABRRRQAUUUUAFFFFABXHfEf/kJ+Fv+wm3/AKTy12NcR8VLq1srvwxcXlxDbQrqjbpJXCqP9Hl6k8VtQ+Nf10M6vwlmisj/AISfw1/0MOk/+Bif40f8JP4a/wChh0n/AMDE/wAa7OV9jC6Neisj/hJ/DX/Qw6T/AOBif40f8JP4a/6GHSf/AAMT/GjlfYLo16KyP+En8Nf9DDpP/gYn+NH/AAk/hr/oYdJ/8DE/xo5X2C6Neisj/hJ/DX/Qw6T/AOBif40f8JP4a/6GHSf/AAMT/GjlfYLoZ45/5FHU/wDrgf5ivR1+6PpXkvjHxF4fuPC+oQwa5pksrxbURLpCzEkYAGeTXrS/dH0rDEpqMb+f6GlJ6sWiiiuQ3CiiigAooooAKp6zpllq+nTafqECz28owynt6EHqCOoI6VcooTsBwNpPe+H9Si0LXZmmilO3TtRfgTjtFIe0o9f4hz1zW9WprOmWWsabNp+oQLNbyjDKeCPQg9iDyCOlcba3F7oGpRaFrkzTRSnbp2ovwJx2ik9JR+TDkc5FYV6KkuaPzR00a1vdkb1FFFcJ2BRRRQAUUVh6heX2qam/h/w/IEuFA+3X2MpZIew7NKR0Xt1PvpSpSqOyIqVFBXYaheX2q6k/h/w/IEnXH26+xuSyU9h2MpHRe3U+/W6BpFjoemR6fp8WyJMsxY5aRj952PUsTyTRoGkWOh6ZHp+nxFIkyWZjl5GP3nY9WYnkmr9eilGC5Y7HnSk5vmkFFFFAgooooAKKKKACiiigAooqjrerafoti17qVwsEIOBnlnY9FUDlmPYDmhK4XLxOASTgVyGoeJbzV7iTTvCQjdUbZcarIu6CH1EY/wCWr/T5R3Paqs0WreLDv1RZtK0U4KaerbZ7kf8ATZh91f8AYH4ntW/awQ2ttHb20McMMahUjRQqqPQAdK5K+MjT92Gr/Bf5/kaQpOWr0RQ0LRbPSVkeNpbi7nwbm8nbdNOf9pvT0AwB2FRazocd5dJqVjcPp2rRgCO8hAywH8Ei9HT2P4EVsUV5ir1FPnT1Ol04uPLbQzdD8USLex6P4kt00/U34hkU/wCj3fvGx6H/AGD831611Fc/qmn2ep2T2V/bx3ED9Ucd+xHoR2I5FZEF9q/hMBLw3OsaEuAJwN91aD/bA/1qD+8PmHfPWvWoYqFbTaX5+n+RyzpuHmjt6KgsLy1v7OK8sriK4t5V3RyRsGVh7Gp66CAooooAKKKKACiiigAooooAKKKKACiiigCtqmn2Oq6fPp+pWcF5ZzoUmgmQOjqexB4NfJfxb/ZY0zRPEdv408Ea9PoOmW9wJry1V2823Gf+XZhzkn5Qp6EjntX17XKfEw7tM0uBuUm1a2Vx2IDFv5qKcbX1Jk7JmP4a0maALqmsSNdazNGBJLIdxhXAxEmegHc/xHJNbtBorjlJyd2YpWCiiipAKKKKACiiigAooooAKwL7PhfUf+Ei09WSzdwNVtU+46E488Ds69SR1XOe1b9VNahW40e+gkAKyW0ikH0KmtaM3GS7Cfc7BWDKGUggjII70tYfw+uZLzwLoV1KSXksIWYnudgrcrpas7HQndBRRRSGFFFFABRRRQAUUUUAFFFFABRRRQAVDe3VtY2kt5eXEVtbQoXlllcKiKOpJPAFY3jTxdpPhW0je+aWe8uDts7C2XzLm6f+7Gnf3JwB3Irim0XWPF13HqXjry1tI332ugQvut4v7rTt/wAtpB6fcU9AetAHceEfFvh3xZbzT6BqkV4IH2SqAVdPQlWAIBHIOMEcjNblec+IvC9vqV3Dq2n3U2j65bKFt9RtQA4Uf8s5F6SR/wCw34YPNWvC/jq4i1KHw542todK1iT5ba6jJ+xagf8Apkx+6/rG3PpuoA7yiiigAooooAKKKKACiiigAooooAKKKKACiiigAqG7tbW7QR3VvDOgOQsqBgD64NTUUAUP7F0b/oE2H/gMn+FH9i6N/wBAmw/8Bk/wq/RTuxWRQ/sXRv8AoE2H/gMn+FH9i6N/0CbD/wABk/wq/RRdhZFD+xdG/wCgTYf+Ayf4Uf2Lo3/QJsP/AAGT/Cr9FF2FkUP7F0b/AKBNh/4DJ/hR/Yujf9Amw/8AAZP8Kv0UczCyKA0XR1YMuk2AIOQRbpx+lX6KKVx2CiiigAooooAKKKKACiiigAqnrOmWWsabNp+oQia3lGGU8EHsQexB5BHQ1cooTsBxsPhnxVbxiCHxZbSRJ8sbXGmb5NvbcwkG4474Gad/wj/i7/oaNN/8FB/+O12FFPTsvuQ7y7v7zyL4wr8SfDXw71XV/DmoQ6xqsUYFvbWujEuSWALf6w8AZPQ9K+adA/ax8aWOpjTvGmk29p5fyzPBYETK3vG7qP1Ffedcx42+H/grxpbtD4o8NabqeRgSSwjzV+jj5h+BqbRvey+5D55W3Z5V4B+KHh3x9CkGkfFXSLW6mG021zpX2a5XP93fKQT6EbhmvbPD+k2OiaXHYafHtiXLFidzSMers38THqTXy/8AEP8AYt8OXqyXXgbxBdaTPnKW17++h+gYfOP1rzc6T+1J8D5d9jJqWraPCOkLG/tSo9UPzJ+Qqr6WSJd3uz74or5A+H37aVoWWy+IHhaa0mVtr3WnHco9d0TnI/An6V9F+Afir8PvHUUZ8M+KdPvJnAP2ZpPLnHsY2w2fwpAdpRRRQAUUUUAFFFFABRTLiaK3heaeRIokUs7uwCqB1JJ6VxtzrWqeJnNv4dd7DSuRJqrJ88w9LdT2/wBs8egPWk2ormk7IOtkafiHxPHZ3f8AZOlW51PWGGRbo2EhB6NK/RF/U9hWfpehyfbl1jXLoalq2PkcriK2HdYU/h/3vvHuavaNpVjo9p9msYdik7pHYlnlbuzseWY+pq9Xl4jGOfuw0X4s6adG2stwooorhNwooooAKBRRQBz9xo15pd5JqnhaSO3mkbdcWEhxbXJzycD/AFb/AO0OvcGtzw54js9ZMlv5ctnqMA/0iyuBiWP39GX0YZBqSszXdFtNWEckjS215Bzb3kDbZoT7HuPVTkHuK9HD45r3auq79f8AgnNUodYHU0Vx+n+JLzSbiPT/ABb5cYdtlvqka7beY9lcf8snPoflPY9q7AcjNel0utjnuFFFFAwooooAKKKKACiiigAooooAK5T4lf8AHpov/YYt/wD2aurrlPiV/wAemi/9hi3/APZqaIn8LJaKKK4TIKKK4H41fEN/AWj6emnaW2r69rF2LPS7ENtEkh6lj2UZH500rgjvqK8T8VeNPjD4T+HfifWvFGheHLa4sbFLixu7GZpYvMMiqYpEY5yAxORxxXaX/wATfCHhvw9od54y8RWGlXWpWUVwsb7iWLKCSFUEhcnr0p8rHZncUVyPiD4meAdA0bT9Z1fxVp9tp+pKWsp9zOs4HUrtBJxkU9/iP4FTwra+KW8T2A0S6uBaw3uW8tpTnCHjKng9cY70rMLM6uisrwr4i0TxVo0es+HtRh1HT5HZEuIgdrMpww5APBFatIQVBqH/AB4XP/XF/wD0E1PUGof8eFz/ANcX/wDQTVQ+JCexa+GH/JOfDv8A2DoP/QBXR1znww/5Jz4d/wCwdB/6AK6Ou2fxM3jsgoooqSgooooAKKKKACiiigAooqnreq6bommT6nq17BZWcC7pJpnCqo/x9upoAuVwXiTx1cXWoz+HfA9vDqeqRHZdXspP2LTz3EjD78npGvPqVrJvdQ8RePyY4De+G/CrcFuYr/UFz27wREd/vkH+Gui0jTdP0jTotO0uzhs7SEYjhiXao/xPqepoAy/DXhi20m6m1S7up9W1y5GLnU7rBlcf3EA4jjHZF4+p5rfoooAKp6zpen6zpsum6rZw3lpKPnilXIOOh9iOoI5FXKKAOTsdU8QeAAI75rzxF4VQACfBlv8AT1/2wOZ4gO4+cDqG616Po+p6frGmwalpV5Be2c67opoXDKw9iKxK5S78Paloeoza54FnhsrqVt93pcxIsr455JA/1Uh/56KOf4gaAPUaK5nwX4003xK01kYptN1m1H+l6Xd4WeHnG4dnQ9nXIP6V01ABRRRQAUUUUAFFFFABRRRQAUUUUAFFFFABRRRQAUUUUAFFFFABRRRQAUUUUAFFFFABRRRQAUUUUAFFFFABRRRQAUUUUAFFFFABRRRQBwnxA+EHw58dRSDxF4VsJrhwf9KhTyZwfXemCfxzXzr4+/YuMM39ofDvxZJbyodyW2o5yp7bZUGR+I/GvsWigD4HTxT+1D8EXaPWbbUNU0iHgtdx/brbaO4lX5lH1I+len/Dz9s/wnqIitvGuh3miXB4e4tf38GfXH3wPwNfVDKrKVZQykYIIyDXl/xE+APws8cK8mpeGYLO8bJ+16f/AKPLn1O3hvxBoA6/wb448IeMrX7R4X8Rabqq4yVt5wXUf7S/eH4iuir4o8Y/sdeKtCvzqvw08YeY8Z3RRXLm2uEPoJU4P4hawLX4x/tHfB51s/G2j3Wo2EbYDarblwR6LcJ1/EmgD72rK8R6/p+h26Pdu7zynbb20K75p2/uoo5P16Dua8W+GP7RsPxF0SZ9L8NXGkXkMkcE93eyB7G3dwcFpFwT0OFIGfWvUdE0OGxuJNQuLiTUNUnH729mwWI/uoBwieij9ayr1o0Ypy67DhFzdkVDpmpeIplu/FG2O0Vt0GkRtujX0Mx/5aN7fdHv1roQAoCqAABgAdqWivGrVp1XeR2QgoLQKKKKyLCiivEP2soPFkml+HrjS4dduvDMF4z+ILfRJTHePFgbSpHO0fNnHtmrpw55ctxSdlc9uYhfvEL9TigMpJAYEjqAelfLGs6v4Ab4LeHJvDd7rfiXTW8YWqeXqmoSLc2UzH7jEc4GMhTwc9ap+Jde8VeH7z4/ar4VkEd3bahamS4MxR7aLYd0kfqwOBj3NbLDt9f6uR7Q+tKK4f4Hap4t1n4b6XqPjK0tIL+aCNont5/N8+IxqVlc9nbJyK7iueSs7Fp3QUUUUhkd1BBdW8ltcwxzQyKVeORQysD2IPWsCGPV/Ch3aYs2q6KDlrFm3XFsP+mLH76j+4efQ9q6Oit6GInRem3YznSU/Us6Lq2n6zYre6bdJcQklSRwUYdVYHlWHcHmrtcXreki2nm1/Sb6LSNQRC00z/8AHvOo7TL0I/2uGHr2r5/+L37WHiDwV4rj0e08G2E8RtY5jJcTyDzC2fmQgcxnGQcDNezSqRqx54HG04vlkfWlFfDqftv+JP4/Amkn6Xkg/pU6ftwa1/H4B08/S/f/AOJqwPtuivipP24dQ/j+H9qfpqLf/EVMn7cUv8fw8Q/TU/8A7XQB9n0V8bp+3HF/H8OXP01Uf/GqlX9uOx/i+HFx+Grr/wDGqAPsOivj9f24tM/i+Hd4Ppqq/wDxupF/bh0X+L4fagPpqSH/ANkoA+vK5T4lf8emif8AYZt/5NXzkv7cHh/+LwDqg+l9Gf8A2Wrvh79p7RPif4x8OeErPwtqGnTz6nHKJpbhHUBFYkYAzTRM/hZ9C0UUVwmIV5F+0d4c8TXk3hLxn4T07+1dQ8Lan9rewBw88TY3bfUjb0969do6GmnZjTseB/E3xT4m+I3wi8XaVZfDbxJpSf2ehja+jAknm81P3ccY5bAyc+1cZ498JeK9K8e6f4kl0rxPc6beeGrSxD6NZ29zNbSJGFeJ0mRgoJycjHXr1r6vyc9aKpTt0HzHy1faX4t8LeAfA2meH/DPidNFH2tr1v7OtrrVbVnfKJh1KRq3XgdPpWJYeB/FTfAJdFvfDGqm6fx/HcyWk9uDIbc/edlUbdvPJA2+nFfYGTS8+9HOPmILS1tbO3W3s7eG2gT7scSBFH0A4qaiioICoL/mxuB/0xf/ANBNT1BqP/IPuf8Ari//AKCaqPxIT2Pmvw9+2L4b8OaJZ+H5vBurTyadCtq8qXUYDlBtJAI6HFaA/be8Kd/BGtD/ALeYq9h+H3w0+Ht/4E0O8vfBegz3E1hFJLLJZIWdioJJOOSTW03wj+GDfe8B+Hj/ANuKf4V2z+JnRHZHgy/tu+EP4vBeuD/tvF/jUi/tt+Cz97wfro/7axf417i3wd+FjdfAPh7/AMAk/wAKjb4L/CdvvfD/AMP/APgGtSM8WX9tjwN/F4U18f8AAov8aev7a3gLv4Y8QD/v1/8AFV7E3wR+Ebdfh74f/wDAQVGfgX8Hz1+Hfh//AMBhQB5Kv7anw9/i8O+IR/wGP/4qnr+2l8OT10HxCP8AtnH/APFV6qfgR8Hj/wA070H/AMB//r0xvgH8G26/D3RPwjI/rQB5iv7aHw176N4iH/bGP/4upF/bO+GB+9pfiIf9u8f/AMXXor/s9/Blv+af6UPpvH/s1Qv+zp8F2/5kPTx9HkH/ALNQBwi/tl/Cs9bDxEP+3VP/AIupPht8QvC/xm+JGqahGupXVlpsEMukWt/GEhiccTOIwSGkDFDuOSAwxiuxf9mz4Kt/zI9qPpPKP/Zqq6z4B8M/C2LQNX8G6OmnWMGreVqKK7NmK6CwliWJOFcRH04NAHoFFFFABRRTJpYoYXmmkSKJFLO7sFVQOpJPQUAPorK8NeI9B8S2k154f1a01S3hlMMkttIHVXABK5HfkVq0AFFFFAHFfGK0tF8JXGtpHMmt2KgaTdWrbLiO4dgsaqw6hmIBU5BGcivU9NS6j062jvpVmulhQTyKuA7gDcQO2TmvOdehl1r4heFtAjYfZrWSTWb4eqw/LCv4yuD/AMAr06gAooooAKKKKACiiigAooooAKKKKACiiigAooooAKKKKACiiigAooooAKKKKACiiigAooooAKKKKACiiigAooooAKKKKACiiigAooooAKKKKACiiigAqK7t7e7t3t7qCKeFxh45UDKw9CDwalooAw9B8H+FtAtL600Xw/p1hbahIZbuGCBVSZiMZZenQVjXOj6p4XJn0FJdS0gEs+mM2ZYB6wMeo/6Zn8D2rtaKUoxkuWSug2d0c5o+qWOr2f2rT5xLGGKuMENGw6qynlWHoau1S8QeGFurw6vo1wNM1gDBmVcx3A7LMn8Y9+o7GqOla4z3w0jWbX+zNWx8sLNmO4A6tC/8Y9uo7ivKxGDdP3oar8V/Xc6ada+ktzboooriNwriviT4d8bavdafqHgnxuPDl1aq6Swz2YuLe5VsYLKejLjgj1rtaKcZOLuJq54QP2fpI/BkWlL4nFxq0/iWHX9Tvprbas8iE5REU/KOeK3Z/g6bx/ifHe60ot/HBQx+VCd9ptXAzk4bnB7cV61RWnt59yeRHI/CTw74i8KeC7XQvEniCDW7i0AignhtfJVIVUKiY7kAdT6111FFZt3dykrBRRRSGFZuu61Z6QkazeZNdTkrbWkC7pp29FX+ZPA7mqN1rV3qV5LpXheGO7uYyVuL2TP2a0PoSPvv/sD8SK2/Dfhuz0eSS7eSS+1Ocfv76fBkf/ZHZF9FHFejh8C371XRduv/AADnqV+kTLsPDd7rE8eoeLPLMaNvt9KjbdDH6GU/8tX/APHR2B610lzpmm3Lh7nT7SZwAu6SFWOPTkVbor0lZJJbHOZraBoLfe0XTT9bVP8ACmHw14cb72gaUfrZx/4Vq0UAY7eFfC7fe8N6OfrYx/8AxNRt4O8It97wtoh+thF/8TW5RQBz7eCPBjfe8JaCfrp8X/xNRnwD4Gbr4N8Pn/uHRf8AxNdJRQBzDfDvwC33vBfh4/8AcOi/+JqNvhr8PW+94H8On/uHRf8AxNdXRQByDfC/4cN97wL4cP8A3Dov8K5/xd4D8FaDPoWpaL4U0bTr1dXgVZ7azSNwCGyAQM816fXJ/Ev/AI9NE/7DNv8AyamtyZ/CyavNf2jvGmreCfh19r0Dy11jUL2HT7OSRcrE8h5fHsBx716VXFfGnwHH8RfAs/h/7abC7WZLmyugu7yZkOVJHp1Brija+pktzjpPAvjHwj4Y1rWbr4n67rX/ABI7w31reAFDN5LFXhI5j2t+lc38B/jFcW/hnwH4c8Q+G9eSLVl+xW2vXThormcE8DJ3EdBuNddp/h341appl9pXi7xD4XNjJpdxaBbK3fzLqR4iiPIzD5QCQTt61Qg+E3iCPwh8KtIN5p5n8Iaglzfne22RRniPjk898VenUq6L/jL4z3nhPWZU1j4d+IINCivVs21dnjEZLNtDhM5Kk9KTxl8bDofjDXPDGm+Btb1+60e2ju5pLNl2CFk3M7E/dwMcc5rzrxd+z7471jVtYZtS8M38d3qv2+HUr1Zjfqm8MIQ3KooHYV6nY/D3WIPiL478RNdWn2XxDosNhaoGO9JEj2kvxgDPpmi0QtExvD37QOm6vq3hxW8H6/Y6L4huBaWWrXKqInuD1QAEkgHjd+NcV4b+Kus+DfF3xRlufDXiLxLp1lrrSTTwSgw6fAMjHzHj/dHpXVW/wf8AEUfw8+GXh1r3TvtPhXWUvr1t7bJEDMSE45PPfFZ2s/Cf4ppd+O7fw74g8O22leMdQkkuUuInaWGFuNysBjcQWBH60/dDQ63xJ8bNNtrnSLHwr4d1PxXf6npq6otvZsqeTbN0Zy3frx7VT1H4/aLF4Z8K65p3h3VtT/4SOee1htINvnxXEWAYyvcliBkH3rm/GH7P97Hqehal4VXw7qh0/RotKuLTxBAzxSeX92VSvIbrW5a/CfXI3+G8oTw7Yt4b1O4vdQg06JoYGEmMCJcHJ45zilaIWieteGr+71TQbPUL/SrjSbqeIPLZTsDJA391iOCas6j/AMg+5/64v/6CanFQaj/yD7n/AK4v/wCgmph8SM3sWvhd/wAk48O/9g2D/wBAFdJXN/C7/knHh3/sGwf+gCukrtn8TOiOyCiiipGFFFFABRRRQAUUUUAFY/jXRI/EnhHVdCkbaL61eFX/ALjEfK31BwfwrYooA888A6tJrXg7TNQuCPtRh8q6A/hnjJSQf99q1btcr4fjj0P4h+KPDSgpFcSJrVop6bZsrKB9JUJP++K6qgAqlrmj6Zr+mS6RrFnHe2NwVE0EmdsgDAgHHUZA471drL8V6FZ+JfD93oeoS3cVtdKFke1mMUoAIPyuOR0oA8h/Y6hit/CvjCCCNIoo/FV2iIgwFACgADsK9yrz34a/B/wh8PdZm1Xw7JrCzTRvHIlzftLG24glip43fKOetehUAFFFYvjnWf8AhH/CGqawqGSW3t2MEY6ySn5Y1HuWKigBnwphTVPEfinxdv8AMSe7XS7M9hBbZDEfWVpP++RXodYXw/0NfDfgvSdEUfPa2yrKf70pGXb8WLH8a3aACiiigAooooAKKKKACiiigAooooAKKKKACiiigAooooAKKKKACiiigAooooAKKKKACiiigAooooAKKKKACiiigAooooAKKKKACiiigAooooAKKKKACiiigAooooAKoa7o+na3Ymz1K3WaPO5Gzh427MrDlWHqKv0U07A1c4aWfVvCreXrLS6lo2cJqSpmW3HpOo6j/poB9QOtdBBLFPAk8EiSxSKGR0YFWB6EEda2GAZSrAEHgg965C+8N3uizSX/AIT2eU7b7jSZG2wyepiP/LJ/b7p9B1rir4ONT3oaP8P+B+RpCq46PVG1RWboWtWerxyCDzIbmAhbm1mXZNA3oy/yPQ9jWlXlSjKD5ZKzOtNNXQUUUVIwoorI1rXYrG5j0+1t5NR1WYZisoCN2P77noif7R/DNXTpyqS5Yq7JlJRV2X9SvrPTbKS8v7mO3t4x80jnAHt7n2rGgtNX8WfNcLc6NoR/5Z/cu7se/eJD6fePtV7RvDE0l7FrHiaeO/1BOYIEB+zWn+4p+83+2efTFdTXr0MLCjq9ZfgvT/M5J1JT8kV9NsbPTbKKysLaK2tohhI41woFWKKK6SAooooAKKKKACiiigAooooAKKKKACuT+Jf/AB6aJ/2Gbf8Ak1dZXKfE/EejWF452xWuqW0sjHoq79pJ9vmpx3In8LJaKO9FcJkFFFFABRRRQAUUUUAFFFFABVfUf+Qfc/8AXF//AEE1Yqjr9wlroV/cyHCxW0jH8FNVD4kJ7Gh8Lv8AknHh3/sGwf8AoArpKxfAlnJp/gvRbGUESQWMKMD2IQZrartl8TOiOyCiiipGFFFFABRRRQAUUUUAFFFFAHnvxVRtL8R+FvFSRjy4rttLvW9IbnAVj7CVY/8Avo1uVZ+IGht4l8FatoccgimurZlgk/55yjmNvwYKfwrnPBWtDXPCemarKyJPcW6mdNw+SUfLIv4MGFAG1RTfMj/56J/30KPMj/56J/30KAHUU3zI/wDnon/fQo8yP/non/fQoAdXLeKI5NY8a+FfDUY3Qm6bVb3uPKt8FAfrK0f/AHya6fzI/wDnon/fQrE+GUS6t4z8U+KfMEkSSpo9kR0CQfNKR9ZXYf8AAKAPQ6KKKACiiigAooooAKKKKACiiigAooooAKKKKACiiigAooooAKKKKACiiigAooooAKKKKACiiigAooooAKKKKACiiigAooooAKKKKACiiigAooooAKKKKACiiigAooooAKKKKACiiigDD8SeG7TWJI7yOWSw1OAfuL6DiRf9luzp6qePpWNaa1d6fex6T4ohjtLqQhbe7jz9muz6KT9x/wDYb8Ca7Wq+pWNnqVlJZX9tFc28ow8ci5BrOrShVVp/eOMnB3iUaRiFUsxAAGST0Arnri11rwmC1ul3rmiDAES/PeWo9s/61Pr8w96fbaJqfiZluPEaPY6Xw0elK/zy+9ww6/7g49c1wRy+fNZvTv8A8A3eIVttRi6lqXiOZrXwwRFZg7ZtXkTMY55WFT/rG/2vuj36V0nhzQdP0K2aKzR3llO6e5mbfNO3952PJ/kO1aMMUUMKQwxpHGgCoiLhVA6AAdKfXowhGnHlgtDnbcneQUUUVQBRRRQAUUUUAFFFFABRRRQAUUUUAFFFFABVTWNPtdW0u5029jElvcxmORfY/wBat0U07aged6bqE+k3SeH/ABFIIr1Pktbp+I75B0ZT034+8vXPI4rerd1LT7HUrRrTULSC6gbrHKgZT+Brmn+H2iBj9ku9bsU/5522pzKg+g3HFRKlCTvexi4SWxY5o5qt/wAK/wBP/wCg74m/8G0v+NH/AAr/AE//AKD3if8A8G0v+NT7CP8AN+AuWXYs80c1W/4V/p//AEHvE/8A4Npf8aP+Ff6f/wBB7xP/AODaX/Gj2Ef5vwDll2LPNHNVv+Ff6f8A9B7xP/4Npf8AGj/hX+n/APQe8T/+DaX/ABo9hH+b8A5ZdizzRzVb/hX+n/8AQe8T/wDg2l/xo/4V/p//AEHvE/8A4Npf8aPYR/m/AOWXYsOyohd2CqBkknAArBgU+NL+K0swW0CCUSXl2OEumU5EMf8AeXIBZunGOcmtq28AeHkkEl4t/qhHRb+9knT/AL5Y7T+IrqYY44YlihjSONRhVUYCj0A7VcIRg7p3Y1Tb3HUUUUzYKKKKACiiigAooooAKKKKACiiigArlrr4c+A7q5lubjwfoks0zmSR2s0JdicknjqTXU0UAcl/wrP4e/8AQl6F/wCASf4Uf8Kz+Hv/AEJehf8AgEn+FdbRQByX/Cs/h7/0Jehf+ASf4Uf8Kz+Hv/Ql6F/4BJ/hXW0UAcl/wrP4e/8AQl6F/wCASf4V0OjaXpui6dHp2k2NtY2cWfLgt4wiLk5OAOOSSa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B//Z">
            <a:extLst>
              <a:ext uri="{FF2B5EF4-FFF2-40B4-BE49-F238E27FC236}">
                <a16:creationId xmlns:a16="http://schemas.microsoft.com/office/drawing/2014/main" id="{E0A3E4E5-9F64-409E-8379-0E70B0AC031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" name="AutoShape 8" descr="data:image/jpg;base64,%20/9j/4AAQSkZJRgABAQEAYABgAAD/2wBDAAUDBAQEAwUEBAQFBQUGBwwIBwcHBw8LCwkMEQ8SEhEPERETFhwXExQaFRERGCEYGh0dHx8fExciJCIeJBweHx7/2wBDAQUFBQcGBw4ICA4eFBEUHh4eHh4eHh4eHh4eHh4eHh4eHh4eHh4eHh4eHh4eHh4eHh4eHh4eHh4eHh4eHh4eHh7/wAARCAFKA0Q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82+MXxUh+HuqaLZf2RLqQvH86/dJNosbMOkbTtxzhpFGPrzQB6TRWbruv6HoVil9rWr2OnWrkKkt1OsasT0AJPNV9U8XeFtLs7S81LxFpVpbXoBtZZrtEWYHuhJ+YfSgDaorJ13xN4c0FYG1rXdN00XB/c/arlI/M/3dx5rB8WfFDwd4X8U6N4e1jVra3n1aKSaKVpkWKJFXIZyWGA3RSAckGgDtKKRSGUMpBBGQR3paACiiigAooooAKKKKACiiigAorn/AIj+Iz4Q8B614nFp9rOmWj3Ag37fM2jpnnFZfgzxB4vvLc6l4u0PRNE0o2q3CXEOqGUjIBwwZFCjB65oA7SiueTxdoup+H9T1LwzrGkau1jC7ny75PKVwpIEjjOwcdT0HNY+meN7ufxfoWh3drYRxaj4ffVp54bnzUjZWjG1H6MmHJ3ewoA7mis4a9opsbG+GrWJtb90js5vPXZcO33VQ5wxPYDrULeJ/Da6tHpDa9pg1GSVoUtTdJ5rSKASoXOcgEHHvQBr0VkWHijw3f6zNo1jr+mXOpQ5821iukaVMdcqDnirup6lp2lxRy6lfW1nHJIIkeeUIGc5IUE9+Dx7UAWqK5z/AITzwT/Zf9qf8JdoX2HzvI+0fb4/L8z+5uzjPtWlrOvaJo2mDU9X1ewsLE4xcXFwscZz0wxODmgDRorOt9d0W40Q65b6vYS6WELm8S4UwhR1O/OMfjXL6F8Q7HXfiWPDei3Gnajph0X+0Rf2twJMuJvLKfLxjHPrQB3NFZGl+KPDeq6pPpema/pl7fW+fOt4LpHkTHXKg5rXoAKKKKACiiigAoorz7xp408T2PxDtPBvhbw7p+qXU2ltqUkt5fm3VEEvl7RhGyc0Aeg0Vzcni3TdF02xPjTVNF0HUrhAXt5L9dobPRWbaWHvgVJqWvXNv4r0rS7dNNls720nuGke9Cz/ACBSvlxYzIp3csDxx60AdBRXHfDLxvB4o8G6Dq+pNZ6ff6wsxgtBNy5jdgwQHlsBcn0rem8QaFCt60usWEa2EqxXha4UC3dsbVfn5SdwwD6igDTorDPjDwmNJn1c+JNI/s+CYwS3X2xPKSQdULZxu9utaelajYarYRX+mXtve2kozHNBIHRh7EcGgCzRXnWreP8AXb3xdqXhvwJ4Xh12XR9q6pd3V8LWCGVl3CFTtYu+0gnjAyMmuh/4TDTdM0Gxv/GNxY+F7q5X57W+vYwUfPKhs4b6j1oA6SiqQ1bSy9ig1G0LagCbMCZT9owu47OfmwvPHamSa5o0a6g0mrWSLppAvi06gWxKhh5nPy8EHnsaANCisiw8T+G7/RZdbs9e0240yIkSXcdyhhQjrls4FT6Drmja/ZG90PVbLUrYMVMtrOsihvQlT1oA0KKKKACiiigAooooAKKKhv5/stjcXW3d5MTSbc9cDOKAJqK88+BPxLHxL8Ly6lc6V/Y9/A0ZlszN5mIpY1kikBwMhkb06gjtVT4b/FmDxp8QPE3h6HSvsunaPGJbfUXmBW7QSPG7hcfKoeN8HPOKAPTqKxtF8U+HNdluYdD17S9Tnth+9jtrpJCn+9tJwPes/QPGNjJ4X0/VfEmoaHpc94krqsepJLCwQnJSQ4DYABOOlAHU0VxnjH4neDvDPgSTxnNq9rfaUHEcT2c8cnnuWxtQ7gCRySM9Aa1v+Ey8Jjw/H4gbxHpSaVI21LxrtBEzdMBs4Jz2oA3aKzT4g0IabbakdZ08WV0wW3uPtCeXKSCQFbOCcA/kabo3iTw/rVhNqGka3p1/aQErNPb3KOkZHUMQcD8aANSisfQ/FPhrXRc/2Lr+maj9l/1/2a6STyv97B4pmneL/Cmo6lDpun+JNIur2aITRW8N5G8joRncFByRigDborJvfE/hyx1qHRLzXtMt9Tnx5VpLdIsz56YQnJpL7xR4bsdZh0W91/TLbUpseXaS3SLK+emFJzzQBr0VmeKJ9cttIeXw7p9nqGoBl2QXVyYIyM8kuFbHHtXnngH4ieMtfvdSm1bwzoOkaPpGpTafqV42sEmJ4lBZlBjAK/MvJI70AerUVlaH4l8Pa5ZzXmja5p2oW0BImltrlJFjOM/MQeOPWuX8c/ErSNM+Hes+KfC9/pevPpjQo8cN0HQM8qJhihOOGJ/CgDvaKpQarps2pyaVHfWzajFCs8tqsoMsaNwGK9QCehq7QAUUUUAFFFFABRRRQAUVwXxf8W+LPBmiXviDSPDmm6rpOn2T3V28+oNBKNmSVVQjA8D1FO8O+N7230VdW+ISeHvC9tcpG9k39rB/NDLk53qmCMjpnrQB3dFZV/4k8P6fosetX2uadbaZKAY7uS5RYnB6YYnBz7Vi3njOP/hNfC2j6b9kvdP122u7gXkcu4AQqhXaRwQdx/KgDr6Kp6Rqmm6vaG70q/tr63DtH5tvKHTcpwwyOMg8GvPPAvjvxx4uvZ7qw8JaTHoUGqz2ElzJqrCfbDIUZxH5eM8ZA3UAen0Vj2/inw1casukwa/pcuoO0irapdIZS0f+sG3Ocrg59MUuj+KPDes309hpOvaZf3dv/robe6SR4+3IByKANeisOXxj4Tj1K402TxNo6XtsVE9ubyMSRliAAy5yMkgfUitBNU02S4vbdL+2aaxCm7jEoLQAruG8fw5HPPagC5RWRfeJ/DljokOt3mvabb6ZOqtDdyXKLFIG5BVicHPtUj+INBTTrbUm1nT1srpgtvcG5QRysQSArZwTgH8jQBp0Vm6F4g0PXrKS90TWLDUraNikktrcLIiMOoJU8GqVp428H3cM81r4p0WeO3lSGZo72NhHI7bVViDwSxwPU0Ab9FVZtS0+HU4NMlvbdL64RpIbdpAJJFXG5lXqQMjJ96tUAFFFFABRRRQAUUUUAFFFFABRRRQAV4FNovi74heKviDqlha6E2jXkTeGbf8AtUTK/kxKfNeMKPutK7HPcoPSvfaAABwAKAPmNtUju/Afg7VfEuvyaD4y8MC803fe6W95aXMsWIpEkUL1dVQqwIY5OM1a8Y62E0/w347nSHw94vPh3YPD15o8lzaXsbPv+zphcxyFlGMHcAwyMV9I7F/ur1z070FVJGQDjpx0oA+ZvF51KL4rajrHirWovCNpq+hWK2IvNDXUIlHlnz7YORiNhISSv8WQe1XbnT9E8FyfCDVLy8uNT8O6dBfWkmpz6c+797HmEPHtLIMgqoI44r6MZVYYZQR7ilIDDBAI96AERlZFZfukZHHaloooAKKKKACiiigAooooAKKKKAOC/aHjkm+B/jGKKN5HbSpgqopLE47AVzWuaRc+C/g5fa3ZTa14mnOm24NhrE73tvGCU3P5OMnYCWwOSFxXsRAIwRkUUAfLnhiWXUPF3j+6t9ZGv283gV41vbbRTYQyOGk+RVAxIRnGeTzjtXV+E7C6uPEHge3WCRWf4cyQZZCArnyAAfQ+1e7hVAwFAGMdKAo44HHA4oA+WtI8QWV74F+E/g2C11M61ofiCxj1SBrCVRZmMuh8xiu0ZJGME5HNeheDPDaz6n8W9SsdNiTxBc6tPDZXkkeJARaR+VtYjgBmPI7k17HtXJ+UcnPSlAAzgAZ60AfLHwk0mwvJPAml6l42a11jRLmOU6MnhnyLqK4VGWRJJgMlTlsuThuDXrH7Q+l2+s6b4P0+8she2kviywFxCyFlZPnzuH931zxXp21dxbaMnqcc0EA4yM80AeIWHg/QJfjv8QWl8N2TQHw9ZrGGtB5eXWUPtGNuSFUHHPArkPCVxb6Tpnwi8ReOrO4m8O2nh65tRLNaPNHZ3paMRPIoBK/uldQxHH419P4Gc4GaQqpXaVG30xxQB8uapp32rwv4p8Rafot4fAV34x0/UDYpaOn2iyjCi6lWDAby2kAbGPmCk45rXBsPEnxN8Xaj8NtPkt/t/gWe2tL6Kza2iubsOQpQsBkrlRux274r6N7Y7UgVVxhQPoKAPmT4RabpOoax4Ghk8bFNS0Mhk0eLwz9kuIXERWSKaQDheuSeGIB5r6cpAqhiwUAnqcUtABRRRQAUUUUAFePeM/Dr+IP2jdPjbUdb0yKPwrIftGm3LQMW+1D5S4HI74r2GjAznAz60AfPfxf1CbS/Edz4Xn1CPS7aLQUFvqV5oh1S81hmMgaAORjK4GR1JfPSovhpb3n9qfBhpoLgNF4NvUkLo2UbZAAGz0PHQ19EEAkEgEjp7UBV4+UcdOOlAHzL4YlXw34S+DfizWIbqDStLn1GC+mFu7m2MwkWNnVQSFJGM47iqOrvH4l8G/GW9t7C+ax1PX9OaFZrV4nmixApYKQGwQDz6V9UbV27dox6Y4oKqc/KOevFAHgvx20RtE8XeB76wmg8O+GLBLqKW5j0hby3tbhkQRM8OMDKqyiQj5fbNdd+z5penWGi63eaX4mfX4dR1R7l5V042cKSFFDCKPGNpwCSOCc+9emkAjBAI9KAABgAAUAeH+FPEWnfC7x7450zxp9qsLfWdYbV9Mv/ALLJLDcxyRopTcinDqykbTz0xVb4l+NUv/E+iPF5Ph3Sr/SJJ4dY1Dw493cTt5m37IsbD5CR8+Dy2RgV7wyqw+ZQfqKCAcZAODkZoA+Z/CFwfDXw9+DHibW4b2HTdIur6K+l+yOWthLHNHGzoASi5wOnGRUkT6B4os/ivf6tPq+kaPf69p81tff2dIWQpBCY5miKktFuQE7hgg84r6UKqV2lQR6Yo2jngc9eOtAHy74p1HxN4q+GlrdNHB/ZejeLoDc6tp+jMYb60RM/ajaN99VdgGHIO3I4FeifAmx0ybxV4i8Raf42XxHLeW9tDcrb6P8AYbdShfY3A2u+CQSOQMZ7V6+AAMAAD0pFVVGFUAegFAC0UUUAFFFFABRRRQAVT10E6HfgAkm2kwB/umrlFAHylbL4m8F+BPAGv+FtMupr7xT4UtfDlwiIf9Hu/LBtrhx22hpAc+1dTZ6PL4H8Z+L7HR9BOsR6V8P7OG3tGiJS9kR59yHj5ixySOp3e9fQe1cAYGB0pcDOcDPrQB80/C7UJNW+M/hy+i1qDVV/4R+9WcWWgGwgs2PkkQbsfOQQflPK496b4N0ODUtK+BtpqulfabeG41OWSKeElUYK5QsCMdcEZ719LhVHRQPwoCrx8o46cdKAPm3x5oL/APCEfGvTtM0ljCmqW13BbQ25Iz5MDytGoHU4Ynb71J8TNRtNV8V+BvF+ka0uleE47G7gTUm0Q3VvbXRKffiYDYWUMocjsRnmvo/A54HPWk2rt27Rt9McUAfOD+F9Hn8BeHbKHUz4p0vU/H0N3Of7NNrAAwO9EixgR7hnj5SWNa/iGKTwz49+KV5ofhaHUE/4RmxnXThbfuLqQGZTlFGGwoGQOSBiveNq4AwMDpx0pcDOcDPrQB80fDi8k1L4vi8g1yLW4T4Ru45JrPQjYW8T+ZERCDj94Rz15X8TU/hbwzp2n/Bz4RX1nokdtqKa/YTSzJb7ZgZGcSFmxuwQcHPGMV9HhVHRQPwo2rgDaMDpxQB4H4Vv/CGi+KvGOh+PNFkuvEWo+JXuLYSaW9w15AxT7M0TBSNqAeo24J4ri9V0eObU/HHhrxh4z/4R+41TXbmYQSeG/tM9zAzg28kNwAWbCBAMfcK4r6w2rkNtGR0OKCqkhioJHQ46UAQ6fGYbC3haV5ikSqZHGGfA6n3NeBRX+o6D8NPiZf2+gxalJ/wmdwfKu7Rp4kjZoAZzGBmRUGXwOu2voSkwADwOaAPmPwnHpus+IPiH/a2vXesaHe+F4IbnUtO0NrION8obykUHzCoP3gD6dqi1nVtQ1b4MeOtBtZLTW7Cwh09LLXbHSmtTdEzpmNo8YZ4woJK/L83QHNfUIVV+6oH0FG1du3aNvpjigDyX4Ewv4f17xH4V8Q2jt4rNwb6fV3Qn+2bdziOYN0XaPkMY4XHAwa9bpMDO7Az60tABRRRQAUUUUAFFFFAHCftCRyTfA7xpFDG8kjaNchURSSTsPAA61w3xG1y40uTwVp8z2Oh2c2jF21260Y37RyKsYFqi4wrODnnrtwK90IBGCMikKqQAVBA9qAPlzw5a6bH8FvCF9q3iCfw/qGm61qU+mXV3ozSW5YzSqUmgxiMMjfKOCP4at+NYPGXj7R/AUmm2f9gazd6TquYIYmhikUbP3eThoVmUcHhlD19MFVIwVBHpilwM5wM0Acl8INU0XVfh/pr6FpLaLbWyG1fTWiMbWcsfyvER3IPfv17159+z34SaTT9R1ubWfElo6eJdRcWKXrR2rgXD4zFjBB/WvbgAM4AGaAAOgAoA+fvDvhW4ufhb8V59C0oJ4lv9a1lLecR7Z3O5lUIx5GVJAxxz71mfCTTtL1TxL4Okh8dh9S0W2kEWkweGvsUkWYdjxTuBwAecN1IBFfSgAHQAUgVQSQoBPU460AfH93d+Frb4NaR4XvtDnXxvYeI7d9QZ9NcSwzG/XfO8xXG11IAO47twH09I1rxBY+D/AIlfE211q31FZvEFjayaSsFlJN9sK2zRMiFQQWDdQcYBzXr3jPwzpvizRf7J1Qzrb/aILgmFwrF4ZFkTnB43KM+1bZAJBwMjoaAPlV7TUtP0T4R6tqGqNoOkWvhc2xvZ9I+3RWt2yx4Dxn/VlkDAOfQjvWyfCujS+BfCthBqR8U6VqPj+K7nZtNNtBhw5dVixgRbhn+6cmvpAqpXaVBHpjijauAMDA6cdKAPnf4i+HtR/t/4u6b4R02WCa98Mae8cNmnliZw0ocLjA3mNdvHPSt60tvhx8S/Aep+GPCemrbXp0RYfPTTHtzaspBjjZ2QfOsiqdvJGCa9rwM5wM+tNeMNG6KSm4H5l4IJ7/WgDxP9njUNR8eeINQ+IWsW0kEllYQ+H7eOUcrNF814w+suBn0Svbqw/AvhfS/Bvhm30DSPPa2hZ3Mk775ZXdy7u7YGWLMSeK3KACiiigAooooAKKKKACjvRRQAUUUUAFFFFABRRRQAUUUUAFFFFABRRRQAUUUUAFFFFABRRRQAUUUUAFFFFABRRRQAUUUUAFFFFABRRRQAUUUUAFFFFABRRRQAUUUUAFFFFABRRWN4k8R2Oi+XAyyXd/PkW1lAN0sp9cfwr6scAU0gbNS7uLe0t3uLqeKCFBl5JGCqo9yelSRusiB0YMrDKsDkEetcRFot5rNwmoeLGiuCpDQaah3W1ufU5/1r/wC0eB2FJHY6p4YkM3h1TeaZnMmku+NnPJgY/d/3Dwe2KwWJoufJza/gVyTS5rHc0Vm+H9c07XbM3GnzFtjbJYnXbJC/dXU8qfrWlW7TW5NwooopAFFFFABRRRQAUUUUAFFFFABRRRQAUUUUAFFFNkdY42kkYKigszE4AA70AOrNvPEGhWUhjvNa063cdVluUUj8Ca42e5vvGTNcSXFxZ+HiSLe3iYxyXq/89JGHIQ9lGMjk+lXrHRdHsYhFZ6XZQIOgWFf54yaUpwg7PcydR9Dc/wCEs8Lf9DJo/wD4Gx/40f8ACWeFv+hk0f8A8DY/8azPsdn/AM+lv/36X/Cj7HZ/8+lv/wB+l/wqfbQ7MXPI0/8AhLPC3/QyaP8A+Bsf+NH/AAlnhb/oZNH/APA2P/Gsz7HZ/wDPpb/9+l/wo+x2f/Ppb/8Afpf8KPbQ7MOeRp/8JZ4W/wChk0f/AMDY/wDGj/hLPC3/AEMmj/8AgbH/AI1mfY7P/n0t/wDv0v8AhR9js/8An0t/+/S/4Ue2h2Yc8jT/AOEs8Lf9DJo//gbH/jR/wlnhb/oZNH/8DY/8azPsdn/z6W//AH6X/Cj7HZ/8+lv/AN+l/wAKPbQ7MOeR0Gn6vpWoNtsNTsrs4ziGdXP6GrtcJqHh7RL/AAbjTLcSKcpLGvlyIfVXXBB/GpdB1bUNE1W30fWrp76xu28uxv5MeYknUQynuSM7W74weetxlGfw7jVTXU7aiiig1CiiigAooooAKKKKACiiigAooooAKKKKACiiigAooooAKKKKACiiigAooooAKKKKACiiigAooooAKKKKACiiigAooooAKKKKACiiigAooooAKKKKACiiigAooooAKKKKACiiigAooooAKKKKACiiigAooooAKKKKACiiigAooooAKKKKACiiigAoJwM1R1vVtP0Wwe+1K5S3hXgE8lmPRVA5Zj2A5rlJ49X8V5OprNpWiH7tirbbi6X1mYfcX/YHPqe1TOcaceabsgSbdkWtS8TXeqXEmm+E1jlKMUuNTkGbeA9wn/PV/YcDue1S6FolppRlmVpbm+uMG5vJzummI9T2HoowB6VoWtvBa28dtbQxwwxqFSNFCqo9ABUleTiMXKr7q0j/AFudVOio6vcKKKK5DYxtZ0Jbq7XVNOuX03V41CpdxDO9Qc7JF6OvseR2IqxofihmvU0fxDbppuqNkRENmC6A7xOe/wDsH5h79a0aq6rp9lqlk9lqFulxA/VWHQ9iD1BHqORXdh8a4LlnqvxX9djCpRvrHc6CiuJg1DV/Cnyag1xrGhjpcgb7q0Ho4HMiD+8PmHcHrXX2N5a31nFeWVxFcW8q7o5I2DKw9iK9SLUlzRd0c2qdmT0UUUwCiiigAooooAKKKKACiiigAooooAK5b4nsz+GBp6O0f9o3UNmzKcEI7jfj/gIYfjXU1ynxL/49NE/7DNv/ACaqi7O5E/hY9I0jjWONQiKAqqOgA6ClFLRXAZBRRRQAUUUUAFFFFABRRRQAVl+LLNb7w5fwY+cQtJE3dZE+ZGHuGANalQah/wAeFz/1xf8A9BNXTbU00J7G74av/wC1PD2nan3urWOY49WUE1oVznwv/wCSc+Hf+wdB/wCgCujrrluzoWwUUUUhhRRRQAUUUUAFFFFABRRRQAUUVHdXFvaW0lzdTRwQRKXkkkYKqKOpJPAFAElcZ4x8dR6dqDeH/Dtn/bniMpu+yo+2K1U9HuJOka+3LHsO9Yl94o1vxwzWvhCWXSfD5ysuutHia5GeVtUYcA/89WGP7oPWtbw5oWl+HtP+w6TaiGIsZJGLFpJnPV3c8ux7kmgDKsfGPiPwpJt+IAtr3S5SCNa0+ApHasx+5PFyVQZwJBkY+9jrXpNtNDcwR3FvNHNDIoZJI2DKwPQgjgiucZVZSrKGUjBBGQR6GuRi0nWvBc733ghFutMZi9z4fmk2x8nJa2c/6puvyH5D/s9aAPVaKw/B3irR/FVi9xpkzrNC3l3VpOhjuLaTukiHlT+h6gkVuUAFFFFABRRRQAUUUUAFFFFABRRRQAUUUUAFFFFABRRRQAUUUUAFFFFABRRRQAUUUUAFFFFABRRRQAUUUUAFFFFABRRRQAUUUUAFFFFABRRRQAUUUUAFFFFABRRRQAUUUy4mit4XmnkSKJAWd3bCqPUk0APrnfEXidLK6/srSrY6nrDLkW6NhIR/elfoi/qewrMuda1TxOTB4deTT9KyRJqjJiSYdxAp7f8ATQ8egPWtLRdKsNHtDbWMHlqzF5GJLPIx6s7HlifU1z18TCjpu/63/wAi4U3P0KGmaHJ/aA1jXboanqoz5blcQ2wPVYk/h/3jlj69q3KKK8epVlUlzSZ1xgoqyCiiioKCiiigAooooAK5+40a80q8k1TwtJHBLIS9xp8hxbXR9f8Apm/+0OPUGugorWjXnRd4sicFNakfhvxHZ60ZLfy5LPUYP+Piyn4ljPr/ALS+jDINbVctrui2mrCKSRpLe8gyba7gbbNCfVT6eoOQe4qGw8SXmkTx6d4s8tA7BLfVI12wTHsJB/yyf6/Kex7V7NCvCv8ADo+3+RyTg4b7HX0UAggEcg0VqSFFFFABRRRQAUUUUAFFFFABXKfEv/j00T/sM2/8mrq65T4l/wDHpon/AGGbf+TU0RU+FktFFFcJkFIzKqszsqqoyWY4AHqTS14h+1LLcalqXgLwNJqE1ho/iPWPJ1OSJ9hkjXbiMt2BJ/lTSuxpXPX5Nc0WPT59Rk1jT1srf/XXH2lPLj/3mzgfjV2GSOaFJoZFkjdQyOpyGB6EHuK8F+OPwy8F+B/gl401Dwto/wDZclxpsdvMkcrlHUTIQSpJ+b3rG8X/ABi8QaFfaN4M8M3Wj6U1l4ftbq6vdSs57kSu0SlYkSJWI4x8x4qlG+w7XPpaivANR+Lviq++GPhjxHa6l4Z8KX2omdLyPVreeV3eNto8iFFLsDySccZFZifHLxlc/A+z8WWdppL64vidNFmHlMLe4U5+ZVPKZ469PSjkYcrPpKisTwTH4oj8Owr4yuNMuNY3MZn09GSHaT8oAbnIGAT3rbqCQqvqP/IPuf8Ari//AKCasVX1H/kH3P8A1xf/ANBNVD4kJ7Fv4Yf8k58O/wDYOg/9AFdHXOfDD/knPh3/ALB0H/oAro67Z/EzojsgoooqRhRRRQAUUUUAFFFFABRRXD+L/Gl5HrE3hbwjYrf65GiNdTT5W009XGVaVurMRyI15Pcgc0AbXjLxZo/hW0il1KSSS4uG8u0srdPMuLp/7saDk+54A7kVxD6PrPjG6j1HxyqQ2CMHtfD0Um+FCDlXuGH+uf8A2fuD0J5q/wCGvDEGl3kur393Nq+vXC7bjUrkDeVznZGo4jjHZF/HJ5roKAEACgKoAAGAAMACloooAKKKKAOe8SeGItSvY9Z0y8l0bX4F2walbqCxXOfLlU8Sxn+634EHmrvhfx1KNTh8OeMrWLSNakJW2lRibTUMd4XPRvWNvmHbcOa1Kpa5pOm65pkumatZxXlpKPnjkGRnsR3BHYjkUAdnRXllvrevfD2Nv7Ylu9f8KRgn7aRvvdOT/pqOs0Y/vj5wOoPWvTrS4gu7SG6tpVlgmRZI3U5DKRkEfUUAS0UUUAFFFFABRRRQAUUUUAFFFFABRRRQAUUUUAFFFFABRRRQAUUUUAFFFFABRRRQAUUUUAFFFFABRRRQAUUUUAFFFFABRRRQAUUUUAFFFFABRRWR4l8T+HfDVq114g1zTtLhA3Frq4WPj2yeaANeivnnxx+138LdCEsWjNf+IrlMhRaw+XET/vvjj3ANeNav+1L8Y/HUzad8PfCa2JclQ1naveTjP+0RtB/4DQB9peLfE2keGLBbrVbkRmQ7YYgR5kzeij+Z6Dua43w/eWnxBabUL3VtP1CytJ/L/suxuVmghkGCPOdeJHxg4+6PfrXyvB+z7+0F8ULyHUPH2uNZR4JVtTvDI8YPULEmQv04r3H4G/DZfgONT03VNWub6w1WaNo9Q8sLbRuoIw45MbHOMklTgcis6/P7N+z3/H5Dhy83vbHtYAAAUAAcADtS0gIZQykEEZBHQilrwDvCsP4g6ldaP4D1/VrF1S7stNuLiBmUMFdIyykg8HkdK3KwfiJp93q3gDxDpdhF5t3d6ZcQQR5A3O0bBRk8Dk1ULcyuJ7GB8JvGE2qfBHRfGviu+gjkk037Xf3JURooGdzYHA4HaqvgT41+A/GWurouk3WoRXksD3FsLyyeBbqNRlmjLD5hjmvMPDPhv4pa18DZvg/rXgM6DCujtbw6w+qRSK8yMHRWjXJAYjaTk4Gah+FPw98cQeKtDutf8G6tZXehWM0Vnqd94nF3bxS+UVXy4AMhC2OM4Aro9lD3m3+KM+aWh6X4e+PHw/1zxJZ6DbSavb3F/IYrKW702SGK5cfwozDkntV5PjJ4Jf4ey+OBcXv9mRX39nvH9mP2gXG8J5fl9c5IP0rwvRPh/wDGrUvGHg6+8WaPqtw+j67HdX17c69HNA6Bj88NuMCMAemSfSuhm+EfjBvjlLYLYJ/wrqfxEniWWYSrzOsZPlbM5/1h9MVTpUr7/iJTkekeK/jr8PPDPiCfRNSvb9p7Uot7Lb2MksNmzYwsrqMKeeR2qz4u+M3gbw14gh0O6ub+9u5IIrhv7PsnuEhik+47svABBB+hrxPxX8KPH1j4v8Z29v4X1bxJoniO/ku0ax8TLYQlX6pPEQd2On0FanxJ+H/xCHiTTG+H/gyfSNRs7GztIPENrryohjRFDRXELD96FIIBxyAOvSj2VLTX8UHNI+nAQQCOhGRS1HaiZbaJbhleYIokZRgFscke2c1JXGbBUdzBDc28lvcQxzQyKVeN1DKwPYg9akqO5nhtreS4uZo4YY13PI7BVUepJ6U1e+gnbqYEEWr+FTu0lZtU0UH5tPZt09svrCx+8v8AsH8D2rlfG37Snwu8Iawmlarf6g9w0KzHyLNnCg5+VuhVgQcqRkV1UEur+Kzt0tp9K0U/ev2XbPcj0hU/dU/3z+A71j+J/wBn/wCE/iS/W/1jwstxdCMRmUXUqswGeWwwy2Sck8mvoKXtOT978X9b+f8ATOCXLze5t/WxyQ/a7+DR63+sD66c3+NPX9rj4MH/AJimqj66dJWi/wCy18E2/wCZUkX6X83/AMVUT/sqfBVv+Zcul+l/L/8AFVQFdf2tPguf+YzqQ+unSf4U9f2sPgqf+Y9fD66dL/hSN+yd8F2/5gd+v01CT/Gom/ZI+DDf8wrVB9NRegC0v7VnwUP/ADMl0Prp03/xNPX9qj4Jt/zNE4+unz//ABNZrfsh/Bo9LHWV+mot/hSL+yD8Gwcm01th6HUT/hQBsL+1F8E2/wCZtYfWxm/+JqVf2nPgo3/M4oPrZzf/ABFYEn7IHwdZSFt9cjPquoHj8xULfsd/CMnKtr49vtw/+JoA6pf2lvgo3/M7W4+ttN/8RVLVPjN8NPGmp6BofhnxVbahqMmrQukCxSKSqhiT8ygcCubl/Y2+FLfduvEMf0u1P80qKz/Zu8DfDfxT4e8VaFfazLew6pHGqXMyNHh1YHgKD+tNEz+Fnt1FFFcJiFcn8UPAOg/ETw8uj66s8fkyie1urd9k1tKOjo1dZXLfEL4geE/AVnBc+JtUW1Nw223gRGkmmPfai8n69KavfQaOOPwShuvDmtaTrfjzxTrcmq2a2X2i9nD/AGeIOr/InTJKjJPNWfFHwa0/VNT0/WNH8T674b1e00+PT5LzTpFBuoYwAokUjBIx1rofh18SvCfj6W8g8O3dy9zZBWuLe5tXglRWztO1hyDg9K7HB9DT5pId2eVa/wDBez1W08POvjPxNa6xoSSxw6us6vcypKcuHJGPpjoKgtvgToNv4HXwmmuarJbL4gXXfPl2vKZV/gJ7g9z1r0/XNV03QtLn1TWb6DT7G3AM1xcPsSME4GT25IFWbeSO4hjmhYSRyoHjZeQykZBHsRRzMLsfRQetFSSFQX+PsNxnp5L/APoJqeoNQ/5B9z/1xf8A9BNVH4kJ7Hx9pvhT9rSbT4Ljw/q2qrpEiBrFU1SFQsJ+4AC2Rxjipz4X/bNTpqmtH/uJwH+tfYfwu/5Jx4d/7BsH/oArpK7Z/Ezojsj4W/sL9tBP+Yhrp/7frc/1pP7M/bRT/l515v8At6tj/WvuqipGfCht/wBtJP49fP8A21tj/Wkz+2kn8HiA/jan+tfdlFAHwn9q/bSX/lj4gP8A2ztTS/2p+2gn/Lp4gP8A262x/pX3XRQB8KHxB+2dH10/xAf+4fAf6U3/AISz9sqPrpmvH/uEwn/2Wvu2igD4RPjr9sWPrpOun/uCRH/2SvSf2etV+J8nimXVfijDdWtzr2+yijubNbYmS2QSIwUAA5R5Bn/YxX1LXD/G2xaXwQ+tQRs13oFxHq0G37xEJzIo+sZkH40AaVFRWtxDd2sN3bOJIJ41kjYdGVhkH8jUtABRRWN401PVtI8O3F7oehya5qIKpBZJKI97McZZjwqjqT6CgDZory34U/EvX/EfjvXPBPizwxbaNq+lW6XBazvPtELIxGAT2bkfrXqVABRRRQByXxSzeaDbeGYZmiuPEN7FpqlfvCNjumI+kSvXqEEUcEEcEKBI41CIo6AAYArzjRUj1z4xuzR74fDOncMeguro9vcRJ/5Er0qgAooooAKKKKACiiigAooooAKKKKACiiigAooooAKKKKACiiigAooooAKKKKACiiigAooooAKKKKACiiigAooooAKKKKACiivIPH37SPwl8Hzy2lz4h/tO9jJV7bTYzMysDggtwoP1NAHr9Br4r8WftneINUuXsPh/4JVHfiKW8LTyk+ojTj9TXOp4b/at+L8bPqV3qmmaZMeVuphYQEHsI1wzD8DQB9feOfi38OfBcLt4g8W6bbyr/wAu8colmJ9NiZNeD+O/21fDNmGg8G+Gb7VZe0964t4vwUZY/pVDwP8AsT6fGEuPGvi6e6lzue306PYp9vMfJP5CvevA3wP+Fvg3ypNG8H6ebmMcXV0n2ibPrufOD9MUAfKEnxN/ag+LVwYvC2mX+l2L8A6da/Z4gPeaTk/gfwrV8M/se+OvEd62pfETxlFbSSHdII3a8uGPu7EKPzNfbyqqqFVQoHQAcCloA8P8Cfss/CTwyiPdaPLr90OTNqUu8Z9kXCj8jXsmkaVpmj2SWWk6faWFsgwsNtCsaD8FGKuUUAFMnijnheGaNJI3Uq6OMhgeoI70+igDirjQ9T8MsZ/Dqvf6V1fSmb54R3MDH/0WePQjpWjourWOsWn2qwm3qDtkRlKvE3dXU8qR6GukrnvEPhmO+u/7V0u4OmawoAFzGuVmA6JKnR1/UdjXPXwsK2uz/rf/ADLhUcPQt0Vh6Zrki366Pr1qNN1Uj5F3ZhufeJ/4v904YenetyvHqU5U5cslqdcZqSugoooqCgooooAKKKKACiiufn1i91a8k0zwrHHPJG2251CUZtrY9wP+ej/7I4HcitaNGdaVooidRQV2Tat4n0iwun09Lhb3VFZVGn2rCS4LMMjKA/KMc5bAA70un+GrzVriPUfFhjk2EPBpcbbreAg5DOf+Wr+5+Udh3r5M+N3wb+LHw18bXfxU8DeItS1tnkae7uYxi7iz94PGOJI+OwwB1HGa9N/Z8/ao0Hxibfw/458jQtfYiNLgnba3LfU/6tj6Hj0PavYoUI0Vdb9/8jknNzeux9KjgUUisGUMpBBGQR3pa2JCiiigAooooAKKKKACiiigArk/iX/x66J/2Gbf+TV1lcn8S/8Aj10T/sM2/wDJqaIn8LJqKKK4TIDXz54svLLRv2thqHimW1torjw55Xhy6v8A/j1iuR94EngHOc9+fcV9B1keKfDPh7xTp4sPEejWWq2ytuWO5iDhT6jPQ/Sqi7DTPnuX4ieMdW0H4s6Trd14abUNB0JZINU8Oh03F8nAkLZOPwwc1W1NE0P4ReFLzWvG3jrUNY8ZNbTBLfVUtgX8rPliVxthjwwyeSSBXvekfDrwLpGjX+j6X4V0u0sNRj8q9hihwJ0/uuepH41a1jwX4T1jw5a+HNU8P2F5pFoqLbWksW5IQowu3uMDiq5kVzI+RrybVdd+A/xP03U9d1m4tvDmp28likuqrdthjtaOSZRiVOc8YGQD2rovHN9e6Lo3w58F+HPFWtXuharby3V3cpr0cE8swVT5AumBVFXPC/hX0lpHgPwZpGmahpmmeGdMtLHUUCXlvHABHOoGAGXoeKrv8NvAMnhiPwzJ4S0p9HilM0do0AKJIerDuCfXNHOg5kcl+zLJ4oHhnWLLxHqa6jFa6iU0931OO+mjhKg+XLLHwWHvjrXrNZHhXwz4f8K6adN8N6PZ6VZlzI0VtHtVmIxuPqeOta9Q3dksKg1D/jwuf+uL/wDoJqeoNQ/48Ln/AK4v/wCgmnH4kS9iz8Lv+SceHf8AsGwf+gCukrm/hd/yTjw7/wBg2D/0AV0lds/iZ0R2QUUUVIwooooAKKKKACiiigApk8Uc8EkEyB45FKOp6EEYIp9FAHlvwtaa10G58OXQIuPD97Lppz/FEp3Qt+MTJXWVzusRSaN8YhIGAs/Eem9PS6tj/NonH/fuuioAK5T4tXul2XgLUf7b0fVtX0y4C211baZGzzmNzgsApBwO5BzXV0AkdOKAPmv9mbSprL4s+IbrwdouvaV4AnslyusQlZJLoEY2FvmIA3dSf5V9KUEk9STRQAU2WSOGJ5ZWCxopZ2PYAZJp1cp8U3mm8Lf2FaTGK7125i0uFh1USnEjD6Rhz+FAGx8E7e4k8ISeILyPZda/eS6kykcrG5AhX8IlSu5qGytobOygs7dAkMEaxxqOyqMAfkKmoAKKKKACiiigAooooAKKKKACiiigArG8UeILfQI7RprS8u5LufyIYrZAzltrN3IGMKa2a474j/8AIT8Lf9hNv/SeWtKUVKVmRNtRuh//AAm5/wChV8Q/9+Y//i6P+E3P/Qq+If8AvzH/APF0UV0+yh2MueXcP+E3P/Qq+If+/Mf/AMXR/wAJuf8AoVfEP/fmP/4uiij2UOwc8u4f8Juf+hV8Q/8AfmP/AOLo/wCE3P8A0KviH/vzH/8AF0UUeyh2Dnl3D/hNz/0KviH/AL8x/wDxdH/Cbn/oVfEP/fmP/wCLooo9lDsHPLuR3Pj+G1ga4uvDevwQJy8jQR4Qepw/SuyHIrzfxz/yKOp/9cD/ADFejr90fSsa0IxSaLpybbTFooorA1CiiigAooooAKKKKACsDxb4iGkLFZWMIvdYuwRa2oOB7yOf4Yx3P4Dmjxb4iGkLFZ2UIvdXu8i1tQcfV3P8MY7n8BzWVoWkmxaa9vLg3uq3ZDXV0wwW9EUfwovQL+J5pTmqauy6dN1HZbFJNB1iVfNvPGmvfaH+aQW0kccQY9QilCQvpyad/wAI9qH/AEOnif8A8CIv/jdb9Fcn1ur3/I6/q1LsYH/CPah/0Onif/wIi/8AjdeQN+yh8O7rXL/VdU1HXb17u4efy/OSNULHJHC88k+le/UVLxNR7saw9NbI8/8ACnwq0bwhamLwlqV/pDgfK8ccByR03ny9zD2JrvfCPiKTUJZNJ1aFLTWrZcyxKfkmTtLET1U/mp4NPrM1/SI9Uiikjme0v7ZvMtLuMfPC/wDVT0KngitqWJbdqn39jKphla8Nzs6K5zwj4ik1CWTSdWiS01q2XMsSn5Jk7SxE9UP5qeDXR10tWOVMKKKKQBRRRQAUUUUAFFFFAFLW9J0/WrBrHUrVLiFiGAbgqw6MpHKkdiOa5OZtX8J/LqLT6toi/dvQu64th6SqPvqP74GR3Heu5oPPWpnCNSPLNXQJtO6MS1uILq3jubWaOeGRdySRsGVh6gipax9S8M3el3MmpeE2jhZ2L3GmSHFvcEnkr/zzf3HB7jvUmh63aaqZYVSW1voOLizuF2zRH3HcejDIPrXk4jCSpe8tV/W51U6ylo9zUooorkNgqrquo2Wl2T3moXCW8C/xN3PYAdST2A5NUNZ1xba8XS9Ntm1LV5BlLWI4EY/vyt0Rfc8nsDVnQ/C7LeprHiC4XUdUXmIAYgtPaJD3/wBo/MfbpXdh8E5+9PRfi/67mFSslpHczrfT9Y8VYk1FbjR9EOCtqDsubsf9NCP9Wh/uj5j3I6V2FhZ2thZxWdlbxW9vEoWOKNQqqB2AFT0V6kUox5YqyObd3e4V88ftB/sv+GfHouNc8KiHQPEbAu2xcW123+2o+6x/vD8Qa+h6KYHwT8O/jP8AE/4B+IU8E/ErS72/0aJgqRztulhjHG63l6On+yTj0xX2l8PPHXhfx/oEet+FdWhv7ZwN6g4khb+66HlT9ab8RvAfhb4g6BJovirSob63IPluRiSFsfeR+qmvi34hfBz4ofs++IX8a/DfVb2/0WM5eWFcyRJ12XEQ4dP9oDH0oA++KK+ev2fP2nvDPxAEGieJ/I8P+I2wqq74trpv+mbH7rH+6fwJr6FoAKKKKACiiigAooooAK5P4l/8euif9hm3/k1dZXLfFBHXwx/aCRtJ/Z11DeMqjJKI434/4CWP4VUVd2IqfCx9FNjdJI1kjYOjgMrDoQehp1cBkFFFFABRRRQAUUUUAFFFFABUGof8eFz/ANcX/wDQTU9ZXiy8Fj4cvp/4zC0cS93kf5UUe5YgVdNNySQnsa/wu/5Jx4d/7BsH/oArpKz/AA1Yf2V4e07TeP8ARbWOE49VUCtCuyTu2dC2CiiipGFFFFABRRRQAUUUUAFFFFAHB/G+18vwlB4kiDfaPDl5HqalRyY0ysy/QxM/5CtSKSOaJJoWDxuoZGHQqRkH8q6O9toL2zms7qJZYJ42jlRhwysMEH6g15X4ct/iB4f0O10JvBa6munobeK7TWIkE0aEiNtrLkHbtyD3oA7Oiuc/tDx7/wBE5P8A4PIP/iaP7Q8e/wDROT/4PIP/AImgDo6K5z+0PHv/AETk/wDg8g/+Jo/tDx7/ANE5P/g8g/8AiaAOjrmrGNNc+MdrEQXg8Nae1y/90XNzlEH1Eauf+B07+0PHv/ROT/4PIP8A4mtn4XaLqmm2Oqalr1rFa6tq+oSXU0McokEUYASKPeOGwiL07k0AdhRRRQAUUUUAFFFFABRRRQAUUUUAFFFFABXHfEf/AJCfhb/sJt/6Ty12Ncd8R/8AkJ+Fv+wm3/pPLWtD418/yM6vwj6KKK6zEKKKKACiiigAooooAxfHP/Io6n/1wP8AMV6Ov3R9K848c/8AIo6n/wBcD/MV6Ov3R9KxxHwr5/oXS+Ji0UUVym4UUUUAFFFFABWD4t8RLpCxWdnCL3V7vItbUHGfV3P8MY7n8BzW9XnvhFVn1XxHqE37y7Orz23mtywijICID2UZPHvSlJQi5MqEeeSiXtB0k2LTXt7cfbdVu8G6umGN3oij+FF7L+PWtSiivOnNzd2ejGKirIKKKKgoKKKKACiiigDM1/SE1OKKSOZ7S/tm8y0u4x88L/1U9Cp4IrQ8I+In1CSTSdWiS01q1UGaJT8ky9pYieqn81PBp9YHjSNEj0vUEGy7ttTtVhmXhlV5kR1z6MpII712Yaq21Tlt08jkxFJWc1ud/RRRXScoUUUUAFFFFABRRRQAUUUUAFY3iXw5Y60I5maW0v4Afs17bnbLCfQHuvqpyDWzRTTA4dNavNFuU0/xYsUG47YNSjG22n9mz/qn/wBknB7GkjvdU8UO0Ph5mstMyVl1Z05f1Fup+9/vngdga63W2sI9IupdUjikskiZpllUMpUDJyDwa474R+NR4qj1C3nWOGa3mLQxKMYgJ+UY9un5VgsNRUufl1/Arnm1a51fh/RNO0Oza20+ErvbfNK7FpJn7u7Hlj7mtKiit229yUrBRRRSAKKKKAChgGBVgCD1BoooA+Zv2gv2VNB8XfaNf8B+RoWunLva422ty3XoP9Wx9Rx7d68r+Fvx/wDiB8G9eHgb4saXqF7p1uwjDTjN1bJ0DIx4lj9Ofoe1fdtcf8U/ht4R+JWhNpPinS47jaD5Fynyz27H+JH6j6dD3FAGp4J8W+HfGmgw654Z1W31GxlAw8Tcof7rDqrD0NblfAPjH4b/ABa/Zr8SP4r8Falcaj4e3/vJ4kLIUz9y5i6f8CHHoRX0V+z/APtJeE/iVHDpOqNHoXiUgA2kr/urg+sTnr/unn60Ae6UUUUAFFFFABTZEWSNo5FDIwKspGQQe1OooA87mtb7waTbvb3F74eBzbzwqZJbJT/BIo5aMdmGSBwRxmrtprmi3abrfVrGQe065H4E8V29ZeoeHPD+oyGS/wBD026c9WmtUcn8SKUoQm7vcydN9DE/tDT/APoIWf8A3/X/ABo/tDT/APoIWf8A3/X/ABrQ/wCEK8H/APQq6J/4Ax/4Uf8ACFeD/wDoVdE/8AY/8Kn2MO7FySM/+0NP/wCghZ/9/wBf8aP7Q0//AKCFn/3/AF/xrQ/4Qrwf/wBCron/AIAx/wCFH/CFeD/+hV0T/wAAY/8ACj2MO7DkkZ/9oaf/ANBCz/7/AK/40f2hp/8A0ELP/v8Ar/jWh/whXg//AKFXRP8AwBj/AMKP+EK8H/8AQq6J/wCAMf8AhR7GHdhySM/+0NP/AOghZ/8Af9f8aP7Q0/8A6CFn/wB/1/xrQ/4Qrwf/ANCron/gDH/hR/whXg//AKFXRP8AwBj/AMKPYw7sOSRhX/iPQ7MES6nbvJ/DFC3myMfQKuSTUug6RqOt6rb61rVq9lY2reZY2EmPMaTHE0voR/CvbOTzXU6bo+k6YP8AiW6XZWfY+RAqfyFXquMYw+Hcap66hRRRQahRRRQAUUUUAFFFFABRRRQAUUUUAFFFFABRRRQAUUUUAFFFFABRRRQAUUUUAFFFFABRRRQAUUUUAFFFFABXHfEf/kJ+Fv8AsJt/6Ty12Ncd8R/+Qn4W/wCwm3/pPLWtD418/wAjOr8I+iiqmtLcvo18lkSLpraQQkf39p2/riusyOB8TfHD4c+H9buNHutWubu7tTi6FhZyXC257h2UYFd3oGr6dr+i2mtaRdLd2F3GJYJlBAdT355H418vfC7xVceGfgKR4T1Hwpp/ibTbi7l8R2uuAi4nZSSAoyCzHGBnjtW/pHjm6uPGHwZ1rVNQttE03VdKvHu4IZPs9mZMHGVzt64xnuayU+5Tie3fETxfpfgXwy/iDWkuGtFmihIgTc26Rtq8E9MmmaL400nVvHWseDbVLn+0tJt4bi4LJiMpIAV2nPJ5Ga+YfF+uz6/8Kfibctq0upWaeN7ZbKQzmRFi8wYCdgv04rqta0fUtd+LXxfsNGvrux1P/hHrGa0mtpSjiWNUZRkc4OMH60e0dw5T6Zor55+CfjXVvin8StI1VLy7j07w94djXUoldljm1CUlTuXo2ApPtX0NWkXdXJasYnjshfB+qMxAUW5JJOABkV20fiDQWUbdb008drpD/WuA+KFq198OvEFiriNrmwlhDEZCllxn9a+dU/Yj8QBcj4g6fnHaxkH/ALNWWI+FfP8AQql8TPs5dY0lvu6pYt9Lhf8AGpV1Cwb7t9bH6Sr/AI18VP8AsU+Ll/1PxA00/W3lH9ajb9jHx4v+r8e6Wf8AgMwrlNz7dW4t2+7PE30cVIGU9GH518Mt+xz8S1/1fjjSj/20nH9KY37IPxYX/V+NdKP/AG9Tj/2WgD7qyPUUV8J/8Mk/GNP9X400z8L+4H/stH/DKvxxj/1fjWx/DVLgf+y0AfdlefeCv9Z4i/7D13/MV8rD9mP9oCP/AFfja3/DWJx/Svev2ZtB1zwz8ObjQ/El4LzVbTV7pLmYTGXe24c7jyazrP8AdP5GtD+Ij1Ciig9D9K849A8p8L/HTw74k8RR6PpPhzxVOHvjYm8XTibaOQNtJZwcADv7V1fw08c6f48stVutNs7q2XTdTm06QT7cu8eMsME8HNeJfsnab4+ntr6+0nxXp1p4aj8TXX2vTZNPEk02GG7Ev8ORj6YrhE1a+074W6rbLqV3pWiah8R57XWr21Yq8NscZG4fdB9fauh04vRHOqkt2fahB9KMH0NfItjqP/CJ+LvHth8G9evtY0G28JNeEi7a7jtrzcACjHPzbcn8/SqHhiXw7puq/C3V/h/4y1PV/FusX8K69btqDzGSNgDN5sZOECncPwz71PsfMftfI+p/iR4rs/A3gnUfFeoWtxdWtggd4oMb2BYLxnjvWzpd2moaZa38assdzCkyq3UBlBAP518NeOZvD2seBfiJrfivxbqUfjyPWpbW30171kBt1kG2MQ9GTGTnttFfbHg7/kUNF/7B9v8A+i1pTgopFQm5NmrWB46Yrpdjjvq1iP8AyYSt+uf8ef8AILsP+wvY/wDpQlVhv4sRV/4cj0Ciiiu44AooooAKKKKACiiigAooooAKKKKAK+o2drqFnJaXtulxbyD543GQ31rlPhtouhWsVxf6d4eu9Kn894/9LH7wrx05+4e1dk5whJOMDrXNfDe4t7nQZJrbW7zWIzcuPPukKOpGPlwewoA6aiiigAooooAKKKKACiiigAooooAbNHHNE8M0aSRupV0cZDA9QQeor5Y+P/7J+m61JN4k+GbRaPqwPmPpu7ZbzN1zGf8Alm3t936V9U0UAfDvwh/aT8ZfDXWB4H+MWnahPb2zeWbmZD9stR23Z/1qe/XHQmvs7wr4i0TxTokGteHtTttSsJxmOaB9w+h9D6g8iuY+L/wn8G/FHRjY+JNPH2lFItr+EBbi3P8Ast3H+ycivjfXvCfxi/Zd8Strnh68k1Lw1LJ88yIWtpl7LPH/AANj+L8jQB+gdFeN/AT9oTwf8UreKxMi6N4iCjzNOuJB+8PcxN/GPbqPSvZKACiiigAooooAKKKKACiiigAooooAKKKKACiiigAooooAKKKKACiiigAooooAKKKKACiiigAooooAKKKKACiiigAooooAKKKKACiiigAooooAKKKKACiiigAooooAK474j/8AIT8Lf9hNv/SeWuxrjviP/wAhPwt/2E2/9J5a1ofGvn+RnV+EfRRRXWYnJeIfhr4A8Qam2qa14Q0i+vmOXnltxvY+5HX8at634G8H63o9no+reGtMu9Psv+PW3kgGyH/dHauiopcqHdnMD4feCRpV1pK+F9MSwu547i4tlh2xySJjYxA7jAxWna6DpFjrV9r1jptrDq17EsVxchcNKqD5FY+gwK1KKLILnnnwM+Hcnw+0XVUvrmzutU1bUZL67ktIykS7j8qIDzgDP516HRRQlZWBu5i+Of8AkUdT/wCuB/mK9HX7o+leceOf+RR1P/rgf5ivR1+6PpWWI+GPz/Qql8TFooorlNwooooAKKKKACvPvBP+s8Rf9h67/wDQhXoNee2gfw34jvtO1JQtvq1/Ld2N3/A7yYJhb+64xx/eHTnipqpyptI0otKomzoqKKK8w9Ep6PpOl6Pbvb6Tp9rYwvK0zpbxhFZ26sQO59arw+HfD8OnXenRaJp6WV5I0t1bi3Xy5nbqzLjBJ9TWpRTuxWRm6DoGh6Bava6Ho9hpkDnc8drAsasfU4HNQaR4U8MaPqMupaT4d0qxvZs+ZPb2qI7Z68gZrZoouwsjEv8Awh4Uv7+5v77w3pFzd3UZiuJ5bRGeVD1ViRkitmGOOGJIYUWONFCoqjAUDgAU6ii7CyCuf8ef8guw/wCwvY/+lCV0Fc7q5fxBrFtoGmr5hs7y3u7+4/5Z24jcOE93bA+XsDk1vhYt1U+xjiGlTfmehUUUV2nCFFFFABRRRQAUUUUAFFFFABRRRQBn+ItXs9D0mXUdQlMNumAX2FgpPAyBzjNc78MfE1vrVlLatqNne30TM8htLZ4o1Qn5fvDrV3x3q2lQadLo93BNqF1fRMkdhbKHmkU8bsdFA/vEgVjfBDT9L03wvJHaXHm3zTE3qOu2WJuioynlcD8+cU+V2uK6vY76iiikMKKKKACiiigAooooAKKKKACiiigAqK8tre8tZbW7gjuLeVSkkUihldT1BB4IqWigD5G+Pf7JyS3Enin4TSf2ffxt5zaV5hRCw5zA/wDA2einj0IrC+Cv7UWv+ENSHgv4yWV6fszeT/aEkRFzbn0mT+Mf7Q5+tfa1ecfGr4M+DPipphi1yzFvqaLi31O3UCeL0BP8a/7J/DFAHc6DrGl69pMGraLqFvqFjcLuingcOjD6ir1fnzdWHxn/AGV/EpurSQ6l4Ynl5Zdz2VyM9HXrFJjvx9SK+sfgZ8dfBfxVskhsLkadripmfS7lgJAccmM9JF9xz6gUAeq0Vm6/rul6FAs2pXSxGQkRRgFpJT6Ig5Y/QVhp4yvLgb7TwlrLxn7rTNDCSPXaz5/OqUXa5LnFbnXUVyL+LNaBGzwbfN9b23H/ALPTf+Et1z/oS7z/AMD7f/4qjkfdfehe0idhRXH/APCW65/0Jd5/4H2//wAVR/wluuf9CXef+B9v/wDFU+R9196D2kTsKK4//hLdc/6Eu8/8D7f/AOKo/wCEt1z/AKEu8/8AA+3/APiqOR9196D2kTsKK4//AIS3XP8AoS7z/wAD7f8A+KpU8Wa0T83gy9A9r23P/s9Lkfdfeg9pE6+iuRbxv9lYHVfDms2UR6zLGk6J7t5bEge+K6XTNQstTso73T7qK6t5B8skTblNDi0rjUk9izRRRUlBRRRQAUUUUAFFFFABRRRQAUUUUAFFFFABRRRQAUUUUAFFFFABRRRQAUUUUAFFFFABRRRQAUUUUAFFFFABXHfEf/kJ+Fv+wm3/AKTy12NcR8VLq1srvwxcXlxDbQrqjbpJXCqP9Hl6k8VtQ+Nf10M6vwlmisj/AISfw1/0MOk/+Bif40f8JP4a/wChh0n/AMDE/wAa7OV9jC6Neisj/hJ/DX/Qw6T/AOBif40f8JP4a/6GHSf/AAMT/GjlfYLo16KyP+En8Nf9DDpP/gYn+NH/AAk/hr/oYdJ/8DE/xo5X2C6Neisj/hJ/DX/Qw6T/AOBif40f8JP4a/6GHSf/AAMT/GjlfYLoZ45/5FHU/wDrgf5ivR1+6PpXkvjHxF4fuPC+oQwa5pksrxbURLpCzEkYAGeTXrS/dH0rDEpqMb+f6GlJ6sWiiiuQ3CiiigAooooAKp6zpllq+nTafqECz28owynt6EHqCOoI6VcooTsBwNpPe+H9Si0LXZmmilO3TtRfgTjtFIe0o9f4hz1zW9WprOmWWsabNp+oQLNbyjDKeCPQg9iDyCOlcba3F7oGpRaFrkzTRSnbp2ovwJx2ik9JR+TDkc5FYV6KkuaPzR00a1vdkb1FFFcJ2BRRRQAUUVh6heX2qam/h/w/IEuFA+3X2MpZIew7NKR0Xt1PvpSpSqOyIqVFBXYaheX2q6k/h/w/IEnXH26+xuSyU9h2MpHRe3U+/W6BpFjoemR6fp8WyJMsxY5aRj952PUsTyTRoGkWOh6ZHp+nxFIkyWZjl5GP3nY9WYnkmr9eilGC5Y7HnSk5vmkFFFFAgooooAKKKKACiiigAooqjrerafoti17qVwsEIOBnlnY9FUDlmPYDmhK4XLxOASTgVyGoeJbzV7iTTvCQjdUbZcarIu6CH1EY/wCWr/T5R3Paqs0WreLDv1RZtK0U4KaerbZ7kf8ATZh91f8AYH4ntW/awQ2ttHb20McMMahUjRQqqPQAdK5K+MjT92Gr/Bf5/kaQpOWr0RQ0LRbPSVkeNpbi7nwbm8nbdNOf9pvT0AwB2FRazocd5dJqVjcPp2rRgCO8hAywH8Ei9HT2P4EVsUV5ir1FPnT1Ol04uPLbQzdD8USLex6P4kt00/U34hkU/wCj3fvGx6H/AGD831611Fc/qmn2ep2T2V/bx3ED9Ucd+xHoR2I5FZEF9q/hMBLw3OsaEuAJwN91aD/bA/1qD+8PmHfPWvWoYqFbTaX5+n+RyzpuHmjt6KgsLy1v7OK8sriK4t5V3RyRsGVh7Gp66CAooooAKKKKACiiigAooooAKKKKACiiigCtqmn2Oq6fPp+pWcF5ZzoUmgmQOjqexB4NfJfxb/ZY0zRPEdv408Ea9PoOmW9wJry1V2823Gf+XZhzkn5Qp6EjntX17XKfEw7tM0uBuUm1a2Vx2IDFv5qKcbX1Jk7JmP4a0maALqmsSNdazNGBJLIdxhXAxEmegHc/xHJNbtBorjlJyd2YpWCiiipAKKKKACiiigAooooAKwL7PhfUf+Ei09WSzdwNVtU+46E488Ds69SR1XOe1b9VNahW40e+gkAKyW0ikH0KmtaM3GS7Cfc7BWDKGUggjII70tYfw+uZLzwLoV1KSXksIWYnudgrcrpas7HQndBRRRSGFFFFABRRRQAUUUUAFFFFABRRRQAVDe3VtY2kt5eXEVtbQoXlllcKiKOpJPAFY3jTxdpPhW0je+aWe8uDts7C2XzLm6f+7Gnf3JwB3Irim0XWPF13HqXjry1tI332ugQvut4v7rTt/wAtpB6fcU9AetAHceEfFvh3xZbzT6BqkV4IH2SqAVdPQlWAIBHIOMEcjNblec+IvC9vqV3Dq2n3U2j65bKFt9RtQA4Uf8s5F6SR/wCw34YPNWvC/jq4i1KHw542todK1iT5ba6jJ+xagf8Apkx+6/rG3PpuoA7yiiigAooooAKKKKACiiigAooooAKKKKACiiigAqG7tbW7QR3VvDOgOQsqBgD64NTUUAUP7F0b/oE2H/gMn+FH9i6N/wBAmw/8Bk/wq/RTuxWRQ/sXRv8AoE2H/gMn+FH9i6N/0CbD/wABk/wq/RRdhZFD+xdG/wCgTYf+Ayf4Uf2Lo3/QJsP/AAGT/Cr9FF2FkUP7F0b/AKBNh/4DJ/hR/Yujf9Amw/8AAZP8Kv0UczCyKA0XR1YMuk2AIOQRbpx+lX6KKVx2CiiigAooooAKKKKACiiigAqnrOmWWsabNp+oQia3lGGU8EHsQexB5BHQ1cooTsBxsPhnxVbxiCHxZbSRJ8sbXGmb5NvbcwkG4474Gad/wj/i7/oaNN/8FB/+O12FFPTsvuQ7y7v7zyL4wr8SfDXw71XV/DmoQ6xqsUYFvbWujEuSWALf6w8AZPQ9K+adA/ax8aWOpjTvGmk29p5fyzPBYETK3vG7qP1Ffedcx42+H/grxpbtD4o8NabqeRgSSwjzV+jj5h+BqbRvey+5D55W3Z5V4B+KHh3x9CkGkfFXSLW6mG021zpX2a5XP93fKQT6EbhmvbPD+k2OiaXHYafHtiXLFidzSMers38THqTXy/8AEP8AYt8OXqyXXgbxBdaTPnKW17++h+gYfOP1rzc6T+1J8D5d9jJqWraPCOkLG/tSo9UPzJ+Qqr6WSJd3uz74or5A+H37aVoWWy+IHhaa0mVtr3WnHco9d0TnI/An6V9F+Afir8PvHUUZ8M+KdPvJnAP2ZpPLnHsY2w2fwpAdpRRRQAUUUUAFFFFABRTLiaK3heaeRIokUs7uwCqB1JJ6VxtzrWqeJnNv4dd7DSuRJqrJ88w9LdT2/wBs8egPWk2ormk7IOtkafiHxPHZ3f8AZOlW51PWGGRbo2EhB6NK/RF/U9hWfpehyfbl1jXLoalq2PkcriK2HdYU/h/3vvHuavaNpVjo9p9msYdik7pHYlnlbuzseWY+pq9Xl4jGOfuw0X4s6adG2stwooorhNwooooAKBRRQBz9xo15pd5JqnhaSO3mkbdcWEhxbXJzycD/AFb/AO0OvcGtzw54js9ZMlv5ctnqMA/0iyuBiWP39GX0YZBqSszXdFtNWEckjS215Bzb3kDbZoT7HuPVTkHuK9HD45r3auq79f8AgnNUodYHU0Vx+n+JLzSbiPT/ABb5cYdtlvqka7beY9lcf8snPoflPY9q7AcjNel0utjnuFFFFAwooooAKKKKACiiigAooooAK5T4lf8AHpov/YYt/wD2aurrlPiV/wAemi/9hi3/APZqaIn8LJaKKK4TIKKK4H41fEN/AWj6emnaW2r69rF2LPS7ENtEkh6lj2UZH500rgjvqK8T8VeNPjD4T+HfifWvFGheHLa4sbFLixu7GZpYvMMiqYpEY5yAxORxxXaX/wATfCHhvw9od54y8RWGlXWpWUVwsb7iWLKCSFUEhcnr0p8rHZncUVyPiD4meAdA0bT9Z1fxVp9tp+pKWsp9zOs4HUrtBJxkU9/iP4FTwra+KW8T2A0S6uBaw3uW8tpTnCHjKng9cY70rMLM6uisrwr4i0TxVo0es+HtRh1HT5HZEuIgdrMpww5APBFatIQVBqH/AB4XP/XF/wD0E1PUGof8eFz/ANcX/wDQTVQ+JCexa+GH/JOfDv8A2DoP/QBXR1znww/5Jz4d/wCwdB/6AK6Ou2fxM3jsgoooqSgooooAKKKKACiiigAooqnreq6bommT6nq17BZWcC7pJpnCqo/x9upoAuVwXiTx1cXWoz+HfA9vDqeqRHZdXspP2LTz3EjD78npGvPqVrJvdQ8RePyY4De+G/CrcFuYr/UFz27wREd/vkH+Gui0jTdP0jTotO0uzhs7SEYjhiXao/xPqepoAy/DXhi20m6m1S7up9W1y5GLnU7rBlcf3EA4jjHZF4+p5rfoooAKp6zpen6zpsum6rZw3lpKPnilXIOOh9iOoI5FXKKAOTsdU8QeAAI75rzxF4VQACfBlv8AT1/2wOZ4gO4+cDqG616Po+p6frGmwalpV5Be2c67opoXDKw9iKxK5S78Paloeoza54FnhsrqVt93pcxIsr455JA/1Uh/56KOf4gaAPUaK5nwX4003xK01kYptN1m1H+l6Xd4WeHnG4dnQ9nXIP6V01ABRRRQAUUUUAFFFFABRRRQAUUUUAFFFFABRRRQAUUUUAFFFFABRRRQAUUUUAFFFFABRRRQAUUUUAFFFFABRRRQAUUUUAFFFFABRRRQBwnxA+EHw58dRSDxF4VsJrhwf9KhTyZwfXemCfxzXzr4+/YuMM39ofDvxZJbyodyW2o5yp7bZUGR+I/GvsWigD4HTxT+1D8EXaPWbbUNU0iHgtdx/brbaO4lX5lH1I+len/Dz9s/wnqIitvGuh3miXB4e4tf38GfXH3wPwNfVDKrKVZQykYIIyDXl/xE+APws8cK8mpeGYLO8bJ+16f/AKPLn1O3hvxBoA6/wb448IeMrX7R4X8Rabqq4yVt5wXUf7S/eH4iuir4o8Y/sdeKtCvzqvw08YeY8Z3RRXLm2uEPoJU4P4hawLX4x/tHfB51s/G2j3Wo2EbYDarblwR6LcJ1/EmgD72rK8R6/p+h26Pdu7zynbb20K75p2/uoo5P16Dua8W+GP7RsPxF0SZ9L8NXGkXkMkcE93eyB7G3dwcFpFwT0OFIGfWvUdE0OGxuJNQuLiTUNUnH729mwWI/uoBwieij9ayr1o0Ypy67DhFzdkVDpmpeIplu/FG2O0Vt0GkRtujX0Mx/5aN7fdHv1roQAoCqAABgAdqWivGrVp1XeR2QgoLQKKKKyLCiivEP2soPFkml+HrjS4dduvDMF4z+ILfRJTHePFgbSpHO0fNnHtmrpw55ctxSdlc9uYhfvEL9TigMpJAYEjqAelfLGs6v4Ab4LeHJvDd7rfiXTW8YWqeXqmoSLc2UzH7jEc4GMhTwc9ap+Jde8VeH7z4/ar4VkEd3bahamS4MxR7aLYd0kfqwOBj3NbLDt9f6uR7Q+tKK4f4Hap4t1n4b6XqPjK0tIL+aCNont5/N8+IxqVlc9nbJyK7iueSs7Fp3QUUUUhkd1BBdW8ltcwxzQyKVeORQysD2IPWsCGPV/Ch3aYs2q6KDlrFm3XFsP+mLH76j+4efQ9q6Oit6GInRem3YznSU/Us6Lq2n6zYre6bdJcQklSRwUYdVYHlWHcHmrtcXreki2nm1/Sb6LSNQRC00z/8AHvOo7TL0I/2uGHr2r5/+L37WHiDwV4rj0e08G2E8RtY5jJcTyDzC2fmQgcxnGQcDNezSqRqx54HG04vlkfWlFfDqftv+JP4/Amkn6Xkg/pU6ftwa1/H4B08/S/f/AOJqwPtuivipP24dQ/j+H9qfpqLf/EVMn7cUv8fw8Q/TU/8A7XQB9n0V8bp+3HF/H8OXP01Uf/GqlX9uOx/i+HFx+Grr/wDGqAPsOivj9f24tM/i+Hd4Ppqq/wDxupF/bh0X+L4fagPpqSH/ANkoA+vK5T4lf8emif8AYZt/5NXzkv7cHh/+LwDqg+l9Gf8A2Wrvh79p7RPif4x8OeErPwtqGnTz6nHKJpbhHUBFYkYAzTRM/hZ9C0UUVwmIV5F+0d4c8TXk3hLxn4T07+1dQ8Lan9rewBw88TY3bfUjb0969do6GmnZjTseB/E3xT4m+I3wi8XaVZfDbxJpSf2ehja+jAknm81P3ccY5bAyc+1cZ498JeK9K8e6f4kl0rxPc6beeGrSxD6NZ29zNbSJGFeJ0mRgoJycjHXr1r6vyc9aKpTt0HzHy1faX4t8LeAfA2meH/DPidNFH2tr1v7OtrrVbVnfKJh1KRq3XgdPpWJYeB/FTfAJdFvfDGqm6fx/HcyWk9uDIbc/edlUbdvPJA2+nFfYGTS8+9HOPmILS1tbO3W3s7eG2gT7scSBFH0A4qaiioICoL/mxuB/0xf/ANBNT1BqP/IPuf8Ari//AKCaqPxIT2Pmvw9+2L4b8OaJZ+H5vBurTyadCtq8qXUYDlBtJAI6HFaA/be8Kd/BGtD/ALeYq9h+H3w0+Ht/4E0O8vfBegz3E1hFJLLJZIWdioJJOOSTW03wj+GDfe8B+Hj/ANuKf4V2z+JnRHZHgy/tu+EP4vBeuD/tvF/jUi/tt+Cz97wfro/7axf417i3wd+FjdfAPh7/AMAk/wAKjb4L/CdvvfD/AMP/APgGtSM8WX9tjwN/F4U18f8AAov8aev7a3gLv4Y8QD/v1/8AFV7E3wR+Ebdfh74f/wDAQVGfgX8Hz1+Hfh//AMBhQB5Kv7anw9/i8O+IR/wGP/4qnr+2l8OT10HxCP8AtnH/APFV6qfgR8Hj/wA070H/AMB//r0xvgH8G26/D3RPwjI/rQB5iv7aHw176N4iH/bGP/4upF/bO+GB+9pfiIf9u8f/AMXXor/s9/Blv+af6UPpvH/s1Qv+zp8F2/5kPTx9HkH/ALNQBwi/tl/Cs9bDxEP+3VP/AIupPht8QvC/xm+JGqahGupXVlpsEMukWt/GEhiccTOIwSGkDFDuOSAwxiuxf9mz4Kt/zI9qPpPKP/Zqq6z4B8M/C2LQNX8G6OmnWMGreVqKK7NmK6CwliWJOFcRH04NAHoFFFFABRRTJpYoYXmmkSKJFLO7sFVQOpJPQUAPorK8NeI9B8S2k154f1a01S3hlMMkttIHVXABK5HfkVq0AFFFFAHFfGK0tF8JXGtpHMmt2KgaTdWrbLiO4dgsaqw6hmIBU5BGcivU9NS6j062jvpVmulhQTyKuA7gDcQO2TmvOdehl1r4heFtAjYfZrWSTWb4eqw/LCv4yuD/AMAr06gAooooAKKKKACiiigAooooAKKKKACiiigAooooAKKKKACiiigAooooAKKKKACiiigAooooAKKKKACiiigAooooAKKKKACiiigAooooAKKKKACiiigAqK7t7e7t3t7qCKeFxh45UDKw9CDwalooAw9B8H+FtAtL600Xw/p1hbahIZbuGCBVSZiMZZenQVjXOj6p4XJn0FJdS0gEs+mM2ZYB6wMeo/6Zn8D2rtaKUoxkuWSug2d0c5o+qWOr2f2rT5xLGGKuMENGw6qynlWHoau1S8QeGFurw6vo1wNM1gDBmVcx3A7LMn8Y9+o7GqOla4z3w0jWbX+zNWx8sLNmO4A6tC/8Y9uo7ivKxGDdP3oar8V/Xc6ada+ktzboooriNwriviT4d8bavdafqHgnxuPDl1aq6Swz2YuLe5VsYLKejLjgj1rtaKcZOLuJq54QP2fpI/BkWlL4nFxq0/iWHX9Tvprbas8iE5REU/KOeK3Z/g6bx/ifHe60ot/HBQx+VCd9ptXAzk4bnB7cV61RWnt59yeRHI/CTw74i8KeC7XQvEniCDW7i0AignhtfJVIVUKiY7kAdT6111FFZt3dykrBRRRSGFZuu61Z6QkazeZNdTkrbWkC7pp29FX+ZPA7mqN1rV3qV5LpXheGO7uYyVuL2TP2a0PoSPvv/sD8SK2/Dfhuz0eSS7eSS+1Ocfv76fBkf/ZHZF9FHFejh8C371XRduv/AADnqV+kTLsPDd7rE8eoeLPLMaNvt9KjbdDH6GU/8tX/APHR2B610lzpmm3Lh7nT7SZwAu6SFWOPTkVbor0lZJJbHOZraBoLfe0XTT9bVP8ACmHw14cb72gaUfrZx/4Vq0UAY7eFfC7fe8N6OfrYx/8AxNRt4O8It97wtoh+thF/8TW5RQBz7eCPBjfe8JaCfrp8X/xNRnwD4Gbr4N8Pn/uHRf8AxNdJRQBzDfDvwC33vBfh4/8AcOi/+JqNvhr8PW+94H8On/uHRf8AxNdXRQByDfC/4cN97wL4cP8A3Dov8K5/xd4D8FaDPoWpaL4U0bTr1dXgVZ7azSNwCGyAQM816fXJ/Ev/AI9NE/7DNv8AyamtyZ/CyavNf2jvGmreCfh19r0Dy11jUL2HT7OSRcrE8h5fHsBx716VXFfGnwHH8RfAs/h/7abC7WZLmyugu7yZkOVJHp1Brija+pktzjpPAvjHwj4Y1rWbr4n67rX/ABI7w31reAFDN5LFXhI5j2t+lc38B/jFcW/hnwH4c8Q+G9eSLVl+xW2vXThormcE8DJ3EdBuNddp/h341appl9pXi7xD4XNjJpdxaBbK3fzLqR4iiPIzD5QCQTt61Qg+E3iCPwh8KtIN5p5n8Iaglzfne22RRniPjk898VenUq6L/jL4z3nhPWZU1j4d+IINCivVs21dnjEZLNtDhM5Kk9KTxl8bDofjDXPDGm+Btb1+60e2ju5pLNl2CFk3M7E/dwMcc5rzrxd+z7471jVtYZtS8M38d3qv2+HUr1Zjfqm8MIQ3KooHYV6nY/D3WIPiL478RNdWn2XxDosNhaoGO9JEj2kvxgDPpmi0QtExvD37QOm6vq3hxW8H6/Y6L4huBaWWrXKqInuD1QAEkgHjd+NcV4b+Kus+DfF3xRlufDXiLxLp1lrrSTTwSgw6fAMjHzHj/dHpXVW/wf8AEUfw8+GXh1r3TvtPhXWUvr1t7bJEDMSE45PPfFZ2s/Cf4ppd+O7fw74g8O22leMdQkkuUuInaWGFuNysBjcQWBH60/dDQ63xJ8bNNtrnSLHwr4d1PxXf6npq6otvZsqeTbN0Zy3frx7VT1H4/aLF4Z8K65p3h3VtT/4SOee1htINvnxXEWAYyvcliBkH3rm/GH7P97Hqehal4VXw7qh0/RotKuLTxBAzxSeX92VSvIbrW5a/CfXI3+G8oTw7Yt4b1O4vdQg06JoYGEmMCJcHJ45zilaIWieteGr+71TQbPUL/SrjSbqeIPLZTsDJA391iOCas6j/AMg+5/64v/6CanFQaj/yD7n/AK4v/wCgmph8SM3sWvhd/wAk48O/9g2D/wBAFdJXN/C7/knHh3/sGwf+gCukrtn8TOiOyCiiipGFFFFABRRRQAUUUUAFY/jXRI/EnhHVdCkbaL61eFX/ALjEfK31BwfwrYooA888A6tJrXg7TNQuCPtRh8q6A/hnjJSQf99q1btcr4fjj0P4h+KPDSgpFcSJrVop6bZsrKB9JUJP++K6qgAqlrmj6Zr+mS6RrFnHe2NwVE0EmdsgDAgHHUZA471drL8V6FZ+JfD93oeoS3cVtdKFke1mMUoAIPyuOR0oA8h/Y6hit/CvjCCCNIoo/FV2iIgwFACgADsK9yrz34a/B/wh8PdZm1Xw7JrCzTRvHIlzftLG24glip43fKOetehUAFFFYvjnWf8AhH/CGqawqGSW3t2MEY6ySn5Y1HuWKigBnwphTVPEfinxdv8AMSe7XS7M9hBbZDEfWVpP++RXodYXw/0NfDfgvSdEUfPa2yrKf70pGXb8WLH8a3aACiiigAooooAKKKKACiiigAooooAKKKKACiiigAooooAKKKKACiiigAooooAKKKKACiiigAooooAKKKKACiiigAooooAKKKKACiiigAooooAKKKKACiiigAooooAKoa7o+na3Ymz1K3WaPO5Gzh427MrDlWHqKv0U07A1c4aWfVvCreXrLS6lo2cJqSpmW3HpOo6j/poB9QOtdBBLFPAk8EiSxSKGR0YFWB6EEda2GAZSrAEHgg965C+8N3uizSX/AIT2eU7b7jSZG2wyepiP/LJ/b7p9B1rir4ONT3oaP8P+B+RpCq46PVG1RWboWtWerxyCDzIbmAhbm1mXZNA3oy/yPQ9jWlXlSjKD5ZKzOtNNXQUUUVIwoorI1rXYrG5j0+1t5NR1WYZisoCN2P77noif7R/DNXTpyqS5Yq7JlJRV2X9SvrPTbKS8v7mO3t4x80jnAHt7n2rGgtNX8WfNcLc6NoR/5Z/cu7se/eJD6fePtV7RvDE0l7FrHiaeO/1BOYIEB+zWn+4p+83+2efTFdTXr0MLCjq9ZfgvT/M5J1JT8kV9NsbPTbKKysLaK2tohhI41woFWKKK6SAooooAKKKKACiiigAooooAKKKKACuT+Jf/AB6aJ/2Gbf8Ak1dZXKfE/EejWF452xWuqW0sjHoq79pJ9vmpx3In8LJaKO9FcJkFFFFABRRRQAUUUUAFFFFABVfUf+Qfc/8AXF//AEE1Yqjr9wlroV/cyHCxW0jH8FNVD4kJ7Gh8Lv8AknHh3/sGwf8AoArpKxfAlnJp/gvRbGUESQWMKMD2IQZrartl8TOiOyCiiipGFFFFABRRRQAUUUUAFFFFAHnvxVRtL8R+FvFSRjy4rttLvW9IbnAVj7CVY/8Avo1uVZ+IGht4l8FatoccgimurZlgk/55yjmNvwYKfwrnPBWtDXPCemarKyJPcW6mdNw+SUfLIv4MGFAG1RTfMj/56J/30KPMj/56J/30KAHUU3zI/wDnon/fQo8yP/non/fQoAdXLeKI5NY8a+FfDUY3Qm6bVb3uPKt8FAfrK0f/AHya6fzI/wDnon/fQrE+GUS6t4z8U+KfMEkSSpo9kR0CQfNKR9ZXYf8AAKAPQ6KKKACiiigAooooAKKKKACiiigAooooAKKKKACiiigAooooAKKKKACiiigAooooAKKKKACiiigAooooAKKKKACiiigAooooAKKKKACiiigAooooAKKKKACiiigAooooAKKKKACiiigDD8SeG7TWJI7yOWSw1OAfuL6DiRf9luzp6qePpWNaa1d6fex6T4ohjtLqQhbe7jz9muz6KT9x/wDYb8Ca7Wq+pWNnqVlJZX9tFc28ow8ci5BrOrShVVp/eOMnB3iUaRiFUsxAAGST0Arnri11rwmC1ul3rmiDAES/PeWo9s/61Pr8w96fbaJqfiZluPEaPY6Xw0elK/zy+9ww6/7g49c1wRy+fNZvTv8A8A3eIVttRi6lqXiOZrXwwRFZg7ZtXkTMY55WFT/rG/2vuj36V0nhzQdP0K2aKzR3llO6e5mbfNO3952PJ/kO1aMMUUMKQwxpHGgCoiLhVA6AAdKfXowhGnHlgtDnbcneQUUUVQBRRRQAUUUUAFFFFABRRRQAUUUUAFFFFABVTWNPtdW0u5029jElvcxmORfY/wBat0U07aged6bqE+k3SeH/ABFIIr1Pktbp+I75B0ZT034+8vXPI4rerd1LT7HUrRrTULSC6gbrHKgZT+Brmn+H2iBj9ku9bsU/5522pzKg+g3HFRKlCTvexi4SWxY5o5qt/wAK/wBP/wCg74m/8G0v+NH/AAr/AE//AKD3if8A8G0v+NT7CP8AN+AuWXYs80c1W/4V/p//AEHvE/8A4Npf8aP+Ff6f/wBB7xP/AODaX/Gj2Ef5vwDll2LPNHNVv+Ff6f8A9B7xP/4Npf8AGj/hX+n/APQe8T/+DaX/ABo9hH+b8A5ZdizzRzVb/hX+n/8AQe8T/wDg2l/xo/4V/p//AEHvE/8A4Npf8aPYR/m/AOWXYsOyohd2CqBkknAArBgU+NL+K0swW0CCUSXl2OEumU5EMf8AeXIBZunGOcmtq28AeHkkEl4t/qhHRb+9knT/AL5Y7T+IrqYY44YlihjSONRhVUYCj0A7VcIRg7p3Y1Tb3HUUUUzYKKKKACiiigAooooAKKKKACiiigArlrr4c+A7q5lubjwfoks0zmSR2s0JdicknjqTXU0UAcl/wrP4e/8AQl6F/wCASf4Uf8Kz+Hv/AEJehf8AgEn+FdbRQByX/Cs/h7/0Jehf+ASf4Uf8Kz+Hv/Ql6F/4BJ/hXW0UAcl/wrP4e/8AQl6F/wCASf4V0OjaXpui6dHp2k2NtY2cWfLgt4wiLk5OAOOSSa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B//Z">
            <a:extLst>
              <a:ext uri="{FF2B5EF4-FFF2-40B4-BE49-F238E27FC236}">
                <a16:creationId xmlns:a16="http://schemas.microsoft.com/office/drawing/2014/main" id="{1876E805-113B-4E09-A212-5AB6C2EF17E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AutoShape 10" descr="data:image/jpg;base64,%20/9j/4AAQSkZJRgABAQEAYABgAAD/2wBDAAUDBAQEAwUEBAQFBQUGBwwIBwcHBw8LCwkMEQ8SEhEPERETFhwXExQaFRERGCEYGh0dHx8fExciJCIeJBweHx7/2wBDAQUFBQcGBw4ICA4eFBEUHh4eHh4eHh4eHh4eHh4eHh4eHh4eHh4eHh4eHh4eHh4eHh4eHh4eHh4eHh4eHh4eHh7/wAARCAFKA0Q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82+MXxUh+HuqaLZf2RLqQvH86/dJNosbMOkbTtxzhpFGPrzQB6TRWbruv6HoVil9rWr2OnWrkKkt1OsasT0AJPNV9U8XeFtLs7S81LxFpVpbXoBtZZrtEWYHuhJ+YfSgDaorJ13xN4c0FYG1rXdN00XB/c/arlI/M/3dx5rB8WfFDwd4X8U6N4e1jVra3n1aKSaKVpkWKJFXIZyWGA3RSAckGgDtKKRSGUMpBBGQR3paACiiigAooooAKKKKACiiigAorn/AIj+Iz4Q8B614nFp9rOmWj3Ag37fM2jpnnFZfgzxB4vvLc6l4u0PRNE0o2q3CXEOqGUjIBwwZFCjB65oA7SiueTxdoup+H9T1LwzrGkau1jC7ny75PKVwpIEjjOwcdT0HNY+meN7ufxfoWh3drYRxaj4ffVp54bnzUjZWjG1H6MmHJ3ewoA7mis4a9opsbG+GrWJtb90js5vPXZcO33VQ5wxPYDrULeJ/Da6tHpDa9pg1GSVoUtTdJ5rSKASoXOcgEHHvQBr0VkWHijw3f6zNo1jr+mXOpQ5821iukaVMdcqDnirup6lp2lxRy6lfW1nHJIIkeeUIGc5IUE9+Dx7UAWqK5z/AITzwT/Zf9qf8JdoX2HzvI+0fb4/L8z+5uzjPtWlrOvaJo2mDU9X1ewsLE4xcXFwscZz0wxODmgDRorOt9d0W40Q65b6vYS6WELm8S4UwhR1O/OMfjXL6F8Q7HXfiWPDei3Gnajph0X+0Rf2twJMuJvLKfLxjHPrQB3NFZGl+KPDeq6pPpema/pl7fW+fOt4LpHkTHXKg5rXoAKKKKACiiigAoorz7xp408T2PxDtPBvhbw7p+qXU2ltqUkt5fm3VEEvl7RhGyc0Aeg0Vzcni3TdF02xPjTVNF0HUrhAXt5L9dobPRWbaWHvgVJqWvXNv4r0rS7dNNls720nuGke9Cz/ACBSvlxYzIp3csDxx60AdBRXHfDLxvB4o8G6Dq+pNZ6ff6wsxgtBNy5jdgwQHlsBcn0rem8QaFCt60usWEa2EqxXha4UC3dsbVfn5SdwwD6igDTorDPjDwmNJn1c+JNI/s+CYwS3X2xPKSQdULZxu9utaelajYarYRX+mXtve2kozHNBIHRh7EcGgCzRXnWreP8AXb3xdqXhvwJ4Xh12XR9q6pd3V8LWCGVl3CFTtYu+0gnjAyMmuh/4TDTdM0Gxv/GNxY+F7q5X57W+vYwUfPKhs4b6j1oA6SiqQ1bSy9ig1G0LagCbMCZT9owu47OfmwvPHamSa5o0a6g0mrWSLppAvi06gWxKhh5nPy8EHnsaANCisiw8T+G7/RZdbs9e0240yIkSXcdyhhQjrls4FT6Drmja/ZG90PVbLUrYMVMtrOsihvQlT1oA0KKKKACiiigAooooAKKKhv5/stjcXW3d5MTSbc9cDOKAJqK88+BPxLHxL8Ly6lc6V/Y9/A0ZlszN5mIpY1kikBwMhkb06gjtVT4b/FmDxp8QPE3h6HSvsunaPGJbfUXmBW7QSPG7hcfKoeN8HPOKAPTqKxtF8U+HNdluYdD17S9Tnth+9jtrpJCn+9tJwPes/QPGNjJ4X0/VfEmoaHpc94krqsepJLCwQnJSQ4DYABOOlAHU0VxnjH4neDvDPgSTxnNq9rfaUHEcT2c8cnnuWxtQ7gCRySM9Aa1v+Ey8Jjw/H4gbxHpSaVI21LxrtBEzdMBs4Jz2oA3aKzT4g0IabbakdZ08WV0wW3uPtCeXKSCQFbOCcA/kabo3iTw/rVhNqGka3p1/aQErNPb3KOkZHUMQcD8aANSisfQ/FPhrXRc/2Lr+maj9l/1/2a6STyv97B4pmneL/Cmo6lDpun+JNIur2aITRW8N5G8joRncFByRigDborJvfE/hyx1qHRLzXtMt9Tnx5VpLdIsz56YQnJpL7xR4bsdZh0W91/TLbUpseXaS3SLK+emFJzzQBr0VmeKJ9cttIeXw7p9nqGoBl2QXVyYIyM8kuFbHHtXnngH4ieMtfvdSm1bwzoOkaPpGpTafqV42sEmJ4lBZlBjAK/MvJI70AerUVlaH4l8Pa5ZzXmja5p2oW0BImltrlJFjOM/MQeOPWuX8c/ErSNM+Hes+KfC9/pevPpjQo8cN0HQM8qJhihOOGJ/CgDvaKpQarps2pyaVHfWzajFCs8tqsoMsaNwGK9QCehq7QAUUUUAFFFFABRRRQAUVwXxf8W+LPBmiXviDSPDmm6rpOn2T3V28+oNBKNmSVVQjA8D1FO8O+N7230VdW+ISeHvC9tcpG9k39rB/NDLk53qmCMjpnrQB3dFZV/4k8P6fosetX2uadbaZKAY7uS5RYnB6YYnBz7Vi3njOP/hNfC2j6b9kvdP122u7gXkcu4AQqhXaRwQdx/KgDr6Kp6Rqmm6vaG70q/tr63DtH5tvKHTcpwwyOMg8GvPPAvjvxx4uvZ7qw8JaTHoUGqz2ElzJqrCfbDIUZxH5eM8ZA3UAen0Vj2/inw1casukwa/pcuoO0irapdIZS0f+sG3Ocrg59MUuj+KPDes309hpOvaZf3dv/robe6SR4+3IByKANeisOXxj4Tj1K402TxNo6XtsVE9ubyMSRliAAy5yMkgfUitBNU02S4vbdL+2aaxCm7jEoLQAruG8fw5HPPagC5RWRfeJ/DljokOt3mvabb6ZOqtDdyXKLFIG5BVicHPtUj+INBTTrbUm1nT1srpgtvcG5QRysQSArZwTgH8jQBp0Vm6F4g0PXrKS90TWLDUraNikktrcLIiMOoJU8GqVp428H3cM81r4p0WeO3lSGZo72NhHI7bVViDwSxwPU0Ab9FVZtS0+HU4NMlvbdL64RpIbdpAJJFXG5lXqQMjJ96tUAFFFFABRRRQAUUUUAFFFFABRRRQAV4FNovi74heKviDqlha6E2jXkTeGbf8AtUTK/kxKfNeMKPutK7HPcoPSvfaAABwAKAPmNtUju/Afg7VfEuvyaD4y8MC803fe6W95aXMsWIpEkUL1dVQqwIY5OM1a8Y62E0/w347nSHw94vPh3YPD15o8lzaXsbPv+zphcxyFlGMHcAwyMV9I7F/ur1z070FVJGQDjpx0oA+ZvF51KL4rajrHirWovCNpq+hWK2IvNDXUIlHlnz7YORiNhISSv8WQe1XbnT9E8FyfCDVLy8uNT8O6dBfWkmpz6c+797HmEPHtLIMgqoI44r6MZVYYZQR7ilIDDBAI96AERlZFZfukZHHaloooAKKKKACiiigAooooAKKKKAOC/aHjkm+B/jGKKN5HbSpgqopLE47AVzWuaRc+C/g5fa3ZTa14mnOm24NhrE73tvGCU3P5OMnYCWwOSFxXsRAIwRkUUAfLnhiWXUPF3j+6t9ZGv283gV41vbbRTYQyOGk+RVAxIRnGeTzjtXV+E7C6uPEHge3WCRWf4cyQZZCArnyAAfQ+1e7hVAwFAGMdKAo44HHA4oA+WtI8QWV74F+E/g2C11M61ofiCxj1SBrCVRZmMuh8xiu0ZJGME5HNeheDPDaz6n8W9SsdNiTxBc6tPDZXkkeJARaR+VtYjgBmPI7k17HtXJ+UcnPSlAAzgAZ60AfLHwk0mwvJPAml6l42a11jRLmOU6MnhnyLqK4VGWRJJgMlTlsuThuDXrH7Q+l2+s6b4P0+8she2kviywFxCyFlZPnzuH931zxXp21dxbaMnqcc0EA4yM80AeIWHg/QJfjv8QWl8N2TQHw9ZrGGtB5eXWUPtGNuSFUHHPArkPCVxb6Tpnwi8ReOrO4m8O2nh65tRLNaPNHZ3paMRPIoBK/uldQxHH419P4Gc4GaQqpXaVG30xxQB8uapp32rwv4p8Rafot4fAV34x0/UDYpaOn2iyjCi6lWDAby2kAbGPmCk45rXBsPEnxN8Xaj8NtPkt/t/gWe2tL6Kza2iubsOQpQsBkrlRux274r6N7Y7UgVVxhQPoKAPmT4RabpOoax4Ghk8bFNS0Mhk0eLwz9kuIXERWSKaQDheuSeGIB5r6cpAqhiwUAnqcUtABRRRQAUUUUAFePeM/Dr+IP2jdPjbUdb0yKPwrIftGm3LQMW+1D5S4HI74r2GjAznAz60AfPfxf1CbS/Edz4Xn1CPS7aLQUFvqV5oh1S81hmMgaAORjK4GR1JfPSovhpb3n9qfBhpoLgNF4NvUkLo2UbZAAGz0PHQ19EEAkEgEjp7UBV4+UcdOOlAHzL4YlXw34S+DfizWIbqDStLn1GC+mFu7m2MwkWNnVQSFJGM47iqOrvH4l8G/GW9t7C+ax1PX9OaFZrV4nmixApYKQGwQDz6V9UbV27dox6Y4oKqc/KOevFAHgvx20RtE8XeB76wmg8O+GLBLqKW5j0hby3tbhkQRM8OMDKqyiQj5fbNdd+z5penWGi63eaX4mfX4dR1R7l5V042cKSFFDCKPGNpwCSOCc+9emkAjBAI9KAABgAAUAeH+FPEWnfC7x7450zxp9qsLfWdYbV9Mv/ALLJLDcxyRopTcinDqykbTz0xVb4l+NUv/E+iPF5Ph3Sr/SJJ4dY1Dw493cTt5m37IsbD5CR8+Dy2RgV7wyqw+ZQfqKCAcZAODkZoA+Z/CFwfDXw9+DHibW4b2HTdIur6K+l+yOWthLHNHGzoASi5wOnGRUkT6B4os/ivf6tPq+kaPf69p81tff2dIWQpBCY5miKktFuQE7hgg84r6UKqV2lQR6Yo2jngc9eOtAHy74p1HxN4q+GlrdNHB/ZejeLoDc6tp+jMYb60RM/ajaN99VdgGHIO3I4FeifAmx0ybxV4i8Raf42XxHLeW9tDcrb6P8AYbdShfY3A2u+CQSOQMZ7V6+AAMAAD0pFVVGFUAegFAC0UUUAFFFFABRRRQAVT10E6HfgAkm2kwB/umrlFAHylbL4m8F+BPAGv+FtMupr7xT4UtfDlwiIf9Hu/LBtrhx22hpAc+1dTZ6PL4H8Z+L7HR9BOsR6V8P7OG3tGiJS9kR59yHj5ixySOp3e9fQe1cAYGB0pcDOcDPrQB80/C7UJNW+M/hy+i1qDVV/4R+9WcWWgGwgs2PkkQbsfOQQflPK496b4N0ODUtK+BtpqulfabeG41OWSKeElUYK5QsCMdcEZ719LhVHRQPwoCrx8o46cdKAPm3x5oL/APCEfGvTtM0ljCmqW13BbQ25Iz5MDytGoHU4Ynb71J8TNRtNV8V+BvF+ka0uleE47G7gTUm0Q3VvbXRKffiYDYWUMocjsRnmvo/A54HPWk2rt27Rt9McUAfOD+F9Hn8BeHbKHUz4p0vU/H0N3Of7NNrAAwO9EixgR7hnj5SWNa/iGKTwz49+KV5ofhaHUE/4RmxnXThbfuLqQGZTlFGGwoGQOSBiveNq4AwMDpx0pcDOcDPrQB80fDi8k1L4vi8g1yLW4T4Ru45JrPQjYW8T+ZERCDj94Rz15X8TU/hbwzp2n/Bz4RX1nokdtqKa/YTSzJb7ZgZGcSFmxuwQcHPGMV9HhVHRQPwo2rgDaMDpxQB4H4Vv/CGi+KvGOh+PNFkuvEWo+JXuLYSaW9w15AxT7M0TBSNqAeo24J4ri9V0eObU/HHhrxh4z/4R+41TXbmYQSeG/tM9zAzg28kNwAWbCBAMfcK4r6w2rkNtGR0OKCqkhioJHQ46UAQ6fGYbC3haV5ikSqZHGGfA6n3NeBRX+o6D8NPiZf2+gxalJ/wmdwfKu7Rp4kjZoAZzGBmRUGXwOu2voSkwADwOaAPmPwnHpus+IPiH/a2vXesaHe+F4IbnUtO0NrION8obykUHzCoP3gD6dqi1nVtQ1b4MeOtBtZLTW7Cwh09LLXbHSmtTdEzpmNo8YZ4woJK/L83QHNfUIVV+6oH0FG1du3aNvpjigDyX4Ewv4f17xH4V8Q2jt4rNwb6fV3Qn+2bdziOYN0XaPkMY4XHAwa9bpMDO7Az60tABRRRQAUUUUAFFFFAHCftCRyTfA7xpFDG8kjaNchURSSTsPAA61w3xG1y40uTwVp8z2Oh2c2jF21260Y37RyKsYFqi4wrODnnrtwK90IBGCMikKqQAVBA9qAPlzw5a6bH8FvCF9q3iCfw/qGm61qU+mXV3ozSW5YzSqUmgxiMMjfKOCP4at+NYPGXj7R/AUmm2f9gazd6TquYIYmhikUbP3eThoVmUcHhlD19MFVIwVBHpilwM5wM0Acl8INU0XVfh/pr6FpLaLbWyG1fTWiMbWcsfyvER3IPfv17159+z34SaTT9R1ubWfElo6eJdRcWKXrR2rgXD4zFjBB/WvbgAM4AGaAAOgAoA+fvDvhW4ufhb8V59C0oJ4lv9a1lLecR7Z3O5lUIx5GVJAxxz71mfCTTtL1TxL4Okh8dh9S0W2kEWkweGvsUkWYdjxTuBwAecN1IBFfSgAHQAUgVQSQoBPU460AfH93d+Frb4NaR4XvtDnXxvYeI7d9QZ9NcSwzG/XfO8xXG11IAO47twH09I1rxBY+D/AIlfE211q31FZvEFjayaSsFlJN9sK2zRMiFQQWDdQcYBzXr3jPwzpvizRf7J1Qzrb/aILgmFwrF4ZFkTnB43KM+1bZAJBwMjoaAPlV7TUtP0T4R6tqGqNoOkWvhc2xvZ9I+3RWt2yx4Dxn/VlkDAOfQjvWyfCujS+BfCthBqR8U6VqPj+K7nZtNNtBhw5dVixgRbhn+6cmvpAqpXaVBHpjijauAMDA6cdKAPnf4i+HtR/t/4u6b4R02WCa98Mae8cNmnliZw0ocLjA3mNdvHPSt60tvhx8S/Aep+GPCemrbXp0RYfPTTHtzaspBjjZ2QfOsiqdvJGCa9rwM5wM+tNeMNG6KSm4H5l4IJ7/WgDxP9njUNR8eeINQ+IWsW0kEllYQ+H7eOUcrNF814w+suBn0Svbqw/AvhfS/Bvhm30DSPPa2hZ3Mk775ZXdy7u7YGWLMSeK3KACiiigAooooAKKKKACjvRRQAUUUUAFFFFABRRRQAUUUUAFFFFABRRRQAUUUUAFFFFABRRRQAUUUUAFFFFABRRRQAUUUUAFFFFABRRRQAUUUUAFFFFABRRRQAUUUUAFFFFABRRWN4k8R2Oi+XAyyXd/PkW1lAN0sp9cfwr6scAU0gbNS7uLe0t3uLqeKCFBl5JGCqo9yelSRusiB0YMrDKsDkEetcRFot5rNwmoeLGiuCpDQaah3W1ufU5/1r/wC0eB2FJHY6p4YkM3h1TeaZnMmku+NnPJgY/d/3Dwe2KwWJoufJza/gVyTS5rHc0Vm+H9c07XbM3GnzFtjbJYnXbJC/dXU8qfrWlW7TW5NwooopAFFFFABRRRQAUUUUAFFFFABRRRQAUUUUAFFFNkdY42kkYKigszE4AA70AOrNvPEGhWUhjvNa063cdVluUUj8Ca42e5vvGTNcSXFxZ+HiSLe3iYxyXq/89JGHIQ9lGMjk+lXrHRdHsYhFZ6XZQIOgWFf54yaUpwg7PcydR9Dc/wCEs8Lf9DJo/wD4Gx/40f8ACWeFv+hk0f8A8DY/8azPsdn/AM+lv/36X/Cj7HZ/8+lv/wB+l/wqfbQ7MXPI0/8AhLPC3/QyaP8A+Bsf+NH/AAlnhb/oZNH/APA2P/Gsz7HZ/wDPpb/9+l/wo+x2f/Ppb/8Afpf8KPbQ7MOeRp/8JZ4W/wChk0f/AMDY/wDGj/hLPC3/AEMmj/8AgbH/AI1mfY7P/n0t/wDv0v8AhR9js/8An0t/+/S/4Ue2h2Yc8jT/AOEs8Lf9DJo//gbH/jR/wlnhb/oZNH/8DY/8azPsdn/z6W//AH6X/Cj7HZ/8+lv/AN+l/wAKPbQ7MOeR0Gn6vpWoNtsNTsrs4ziGdXP6GrtcJqHh7RL/AAbjTLcSKcpLGvlyIfVXXBB/GpdB1bUNE1W30fWrp76xu28uxv5MeYknUQynuSM7W74weetxlGfw7jVTXU7aiiig1CiiigAooooAKKKKACiiigAooooAKKKKACiiigAooooAKKKKACiiigAooooAKKKKACiiigAooooAKKKKACiiigAooooAKKKKACiiigAooooAKKKKACiiigAooooAKKKKACiiigAooooAKKKKACiiigAooooAKKKKACiiigAooooAKKKKACiiigAoJwM1R1vVtP0Wwe+1K5S3hXgE8lmPRVA5Zj2A5rlJ49X8V5OprNpWiH7tirbbi6X1mYfcX/YHPqe1TOcaceabsgSbdkWtS8TXeqXEmm+E1jlKMUuNTkGbeA9wn/PV/YcDue1S6FolppRlmVpbm+uMG5vJzummI9T2HoowB6VoWtvBa28dtbQxwwxqFSNFCqo9ABUleTiMXKr7q0j/AFudVOio6vcKKKK5DYxtZ0Jbq7XVNOuX03V41CpdxDO9Qc7JF6OvseR2IqxofihmvU0fxDbppuqNkRENmC6A7xOe/wDsH5h79a0aq6rp9lqlk9lqFulxA/VWHQ9iD1BHqORXdh8a4LlnqvxX9djCpRvrHc6CiuJg1DV/Cnyag1xrGhjpcgb7q0Ho4HMiD+8PmHcHrXX2N5a31nFeWVxFcW8q7o5I2DKw9iK9SLUlzRd0c2qdmT0UUUwCiiigAooooAKKKKACiiigAooooAK5b4nsz+GBp6O0f9o3UNmzKcEI7jfj/gIYfjXU1ynxL/49NE/7DNv/ACaqi7O5E/hY9I0jjWONQiKAqqOgA6ClFLRXAZBRRRQAUUUUAFFFFABRRRQAVl+LLNb7w5fwY+cQtJE3dZE+ZGHuGANalQah/wAeFz/1xf8A9BNXTbU00J7G74av/wC1PD2nan3urWOY49WUE1oVznwv/wCSc+Hf+wdB/wCgCujrrluzoWwUUUUhhRRRQAUUUUAFFFFABRRRQAUUVHdXFvaW0lzdTRwQRKXkkkYKqKOpJPAFAElcZ4x8dR6dqDeH/Dtn/bniMpu+yo+2K1U9HuJOka+3LHsO9Yl94o1vxwzWvhCWXSfD5ysuutHia5GeVtUYcA/89WGP7oPWtbw5oWl+HtP+w6TaiGIsZJGLFpJnPV3c8ux7kmgDKsfGPiPwpJt+IAtr3S5SCNa0+ApHasx+5PFyVQZwJBkY+9jrXpNtNDcwR3FvNHNDIoZJI2DKwPQgjgiucZVZSrKGUjBBGQR6GuRi0nWvBc733ghFutMZi9z4fmk2x8nJa2c/6puvyH5D/s9aAPVaKw/B3irR/FVi9xpkzrNC3l3VpOhjuLaTukiHlT+h6gkVuUAFFFFABRRRQAUUUUAFFFFABRRRQAUUUUAFFFFABRRRQAUUUUAFFFFABRRRQAUUUUAFFFFABRRRQAUUUUAFFFFABRRRQAUUUUAFFFFABRRRQAUUUUAFFFFABRRRQAUUUy4mit4XmnkSKJAWd3bCqPUk0APrnfEXidLK6/srSrY6nrDLkW6NhIR/elfoi/qewrMuda1TxOTB4deTT9KyRJqjJiSYdxAp7f8ATQ8egPWtLRdKsNHtDbWMHlqzF5GJLPIx6s7HlifU1z18TCjpu/63/wAi4U3P0KGmaHJ/aA1jXboanqoz5blcQ2wPVYk/h/3jlj69q3KKK8epVlUlzSZ1xgoqyCiiioKCiiigAooooAK5+40a80q8k1TwtJHBLIS9xp8hxbXR9f8Apm/+0OPUGugorWjXnRd4sicFNakfhvxHZ60ZLfy5LPUYP+Piyn4ljPr/ALS+jDINbVctrui2mrCKSRpLe8gyba7gbbNCfVT6eoOQe4qGw8SXmkTx6d4s8tA7BLfVI12wTHsJB/yyf6/Kex7V7NCvCv8ADo+3+RyTg4b7HX0UAggEcg0VqSFFFFABRRRQAUUUUAFFFFABXKfEv/j00T/sM2/8mrq65T4l/wDHpon/AGGbf+TU0RU+FktFFFcJkFIzKqszsqqoyWY4AHqTS14h+1LLcalqXgLwNJqE1ho/iPWPJ1OSJ9hkjXbiMt2BJ/lTSuxpXPX5Nc0WPT59Rk1jT1srf/XXH2lPLj/3mzgfjV2GSOaFJoZFkjdQyOpyGB6EHuK8F+OPwy8F+B/gl401Dwto/wDZclxpsdvMkcrlHUTIQSpJ+b3rG8X/ABi8QaFfaN4M8M3Wj6U1l4ftbq6vdSs57kSu0SlYkSJWI4x8x4qlG+w7XPpaivANR+Lviq++GPhjxHa6l4Z8KX2omdLyPVreeV3eNto8iFFLsDySccZFZifHLxlc/A+z8WWdppL64vidNFmHlMLe4U5+ZVPKZ469PSjkYcrPpKisTwTH4oj8Owr4yuNMuNY3MZn09GSHaT8oAbnIGAT3rbqCQqvqP/IPuf8Ari//AKCasVX1H/kH3P8A1xf/ANBNVD4kJ7Fv4Yf8k58O/wDYOg/9AFdHXOfDD/knPh3/ALB0H/oAro67Z/EzojsgoooqRhRRRQAUUUUAFFFFABRRXD+L/Gl5HrE3hbwjYrf65GiNdTT5W009XGVaVurMRyI15Pcgc0AbXjLxZo/hW0il1KSSS4uG8u0srdPMuLp/7saDk+54A7kVxD6PrPjG6j1HxyqQ2CMHtfD0Um+FCDlXuGH+uf8A2fuD0J5q/wCGvDEGl3kur393Nq+vXC7bjUrkDeVznZGo4jjHZF/HJ5roKAEACgKoAAGAAMACloooAKKKKAOe8SeGItSvY9Z0y8l0bX4F2walbqCxXOfLlU8Sxn+634EHmrvhfx1KNTh8OeMrWLSNakJW2lRibTUMd4XPRvWNvmHbcOa1Kpa5pOm65pkumatZxXlpKPnjkGRnsR3BHYjkUAdnRXllvrevfD2Nv7Ylu9f8KRgn7aRvvdOT/pqOs0Y/vj5wOoPWvTrS4gu7SG6tpVlgmRZI3U5DKRkEfUUAS0UUUAFFFFABRRRQAUUUUAFFFFABRRRQAUUUUAFFFFABRRRQAUUUUAFFFFABRRRQAUUUUAFFFFABRRRQAUUUUAFFFFABRRRQAUUUUAFFFFABRRWR4l8T+HfDVq114g1zTtLhA3Frq4WPj2yeaANeivnnxx+138LdCEsWjNf+IrlMhRaw+XET/vvjj3ANeNav+1L8Y/HUzad8PfCa2JclQ1naveTjP+0RtB/4DQB9peLfE2keGLBbrVbkRmQ7YYgR5kzeij+Z6Dua43w/eWnxBabUL3VtP1CytJ/L/suxuVmghkGCPOdeJHxg4+6PfrXyvB+z7+0F8ULyHUPH2uNZR4JVtTvDI8YPULEmQv04r3H4G/DZfgONT03VNWub6w1WaNo9Q8sLbRuoIw45MbHOMklTgcis6/P7N+z3/H5Dhy83vbHtYAAAUAAcADtS0gIZQykEEZBHQilrwDvCsP4g6ldaP4D1/VrF1S7stNuLiBmUMFdIyykg8HkdK3KwfiJp93q3gDxDpdhF5t3d6ZcQQR5A3O0bBRk8Dk1ULcyuJ7GB8JvGE2qfBHRfGviu+gjkk037Xf3JURooGdzYHA4HaqvgT41+A/GWurouk3WoRXksD3FsLyyeBbqNRlmjLD5hjmvMPDPhv4pa18DZvg/rXgM6DCujtbw6w+qRSK8yMHRWjXJAYjaTk4Gah+FPw98cQeKtDutf8G6tZXehWM0Vnqd94nF3bxS+UVXy4AMhC2OM4Aro9lD3m3+KM+aWh6X4e+PHw/1zxJZ6DbSavb3F/IYrKW702SGK5cfwozDkntV5PjJ4Jf4ey+OBcXv9mRX39nvH9mP2gXG8J5fl9c5IP0rwvRPh/wDGrUvGHg6+8WaPqtw+j67HdX17c69HNA6Bj88NuMCMAemSfSuhm+EfjBvjlLYLYJ/wrqfxEniWWYSrzOsZPlbM5/1h9MVTpUr7/iJTkekeK/jr8PPDPiCfRNSvb9p7Uot7Lb2MksNmzYwsrqMKeeR2qz4u+M3gbw14gh0O6ub+9u5IIrhv7PsnuEhik+47svABBB+hrxPxX8KPH1j4v8Z29v4X1bxJoniO/ku0ax8TLYQlX6pPEQd2On0FanxJ+H/xCHiTTG+H/gyfSNRs7GztIPENrryohjRFDRXELD96FIIBxyAOvSj2VLTX8UHNI+nAQQCOhGRS1HaiZbaJbhleYIokZRgFscke2c1JXGbBUdzBDc28lvcQxzQyKVeN1DKwPYg9akqO5nhtreS4uZo4YY13PI7BVUepJ6U1e+gnbqYEEWr+FTu0lZtU0UH5tPZt09svrCx+8v8AsH8D2rlfG37Snwu8Iawmlarf6g9w0KzHyLNnCg5+VuhVgQcqRkV1UEur+Kzt0tp9K0U/ev2XbPcj0hU/dU/3z+A71j+J/wBn/wCE/iS/W/1jwstxdCMRmUXUqswGeWwwy2Sck8mvoKXtOT978X9b+f8ATOCXLze5t/WxyQ/a7+DR63+sD66c3+NPX9rj4MH/AJimqj66dJWi/wCy18E2/wCZUkX6X83/AMVUT/sqfBVv+Zcul+l/L/8AFVQFdf2tPguf+YzqQ+unSf4U9f2sPgqf+Y9fD66dL/hSN+yd8F2/5gd+v01CT/Gom/ZI+DDf8wrVB9NRegC0v7VnwUP/ADMl0Prp03/xNPX9qj4Jt/zNE4+unz//ABNZrfsh/Bo9LHWV+mot/hSL+yD8Gwcm01th6HUT/hQBsL+1F8E2/wCZtYfWxm/+JqVf2nPgo3/M4oPrZzf/ABFYEn7IHwdZSFt9cjPquoHj8xULfsd/CMnKtr49vtw/+JoA6pf2lvgo3/M7W4+ttN/8RVLVPjN8NPGmp6BofhnxVbahqMmrQukCxSKSqhiT8ygcCubl/Y2+FLfduvEMf0u1P80qKz/Zu8DfDfxT4e8VaFfazLew6pHGqXMyNHh1YHgKD+tNEz+Fnt1FFFcJiFcn8UPAOg/ETw8uj66s8fkyie1urd9k1tKOjo1dZXLfEL4geE/AVnBc+JtUW1Nw223gRGkmmPfai8n69KavfQaOOPwShuvDmtaTrfjzxTrcmq2a2X2i9nD/AGeIOr/InTJKjJPNWfFHwa0/VNT0/WNH8T674b1e00+PT5LzTpFBuoYwAokUjBIx1rofh18SvCfj6W8g8O3dy9zZBWuLe5tXglRWztO1hyDg9K7HB9DT5pId2eVa/wDBez1W08POvjPxNa6xoSSxw6us6vcypKcuHJGPpjoKgtvgToNv4HXwmmuarJbL4gXXfPl2vKZV/gJ7g9z1r0/XNV03QtLn1TWb6DT7G3AM1xcPsSME4GT25IFWbeSO4hjmhYSRyoHjZeQykZBHsRRzMLsfRQetFSSFQX+PsNxnp5L/APoJqeoNQ/5B9z/1xf8A9BNVH4kJ7Hx9pvhT9rSbT4Ljw/q2qrpEiBrFU1SFQsJ+4AC2Rxjipz4X/bNTpqmtH/uJwH+tfYfwu/5Jx4d/7BsH/oArpK7Z/Ezojsj4W/sL9tBP+Yhrp/7frc/1pP7M/bRT/l515v8At6tj/WvuqipGfCht/wBtJP49fP8A21tj/Wkz+2kn8HiA/jan+tfdlFAHwn9q/bSX/lj4gP8A2ztTS/2p+2gn/Lp4gP8A262x/pX3XRQB8KHxB+2dH10/xAf+4fAf6U3/AISz9sqPrpmvH/uEwn/2Wvu2igD4RPjr9sWPrpOun/uCRH/2SvSf2etV+J8nimXVfijDdWtzr2+yijubNbYmS2QSIwUAA5R5Bn/YxX1LXD/G2xaXwQ+tQRs13oFxHq0G37xEJzIo+sZkH40AaVFRWtxDd2sN3bOJIJ41kjYdGVhkH8jUtABRRWN401PVtI8O3F7oehya5qIKpBZJKI97McZZjwqjqT6CgDZory34U/EvX/EfjvXPBPizwxbaNq+lW6XBazvPtELIxGAT2bkfrXqVABRRRQByXxSzeaDbeGYZmiuPEN7FpqlfvCNjumI+kSvXqEEUcEEcEKBI41CIo6AAYArzjRUj1z4xuzR74fDOncMeguro9vcRJ/5Er0qgAooooAKKKKACiiigAooooAKKKKACiiigAooooAKKKKACiiigAooooAKKKKACiiigAooooAKKKKACiiigAooooAKKKKACiivIPH37SPwl8Hzy2lz4h/tO9jJV7bTYzMysDggtwoP1NAHr9Br4r8WftneINUuXsPh/4JVHfiKW8LTyk+ojTj9TXOp4b/at+L8bPqV3qmmaZMeVuphYQEHsI1wzD8DQB9feOfi38OfBcLt4g8W6bbyr/wAu8colmJ9NiZNeD+O/21fDNmGg8G+Gb7VZe0964t4vwUZY/pVDwP8AsT6fGEuPGvi6e6lzue306PYp9vMfJP5CvevA3wP+Fvg3ypNG8H6ebmMcXV0n2ibPrufOD9MUAfKEnxN/ag+LVwYvC2mX+l2L8A6da/Z4gPeaTk/gfwrV8M/se+OvEd62pfETxlFbSSHdII3a8uGPu7EKPzNfbyqqqFVQoHQAcCloA8P8Cfss/CTwyiPdaPLr90OTNqUu8Z9kXCj8jXsmkaVpmj2SWWk6faWFsgwsNtCsaD8FGKuUUAFMnijnheGaNJI3Uq6OMhgeoI70+igDirjQ9T8MsZ/Dqvf6V1fSmb54R3MDH/0WePQjpWjourWOsWn2qwm3qDtkRlKvE3dXU8qR6GukrnvEPhmO+u/7V0u4OmawoAFzGuVmA6JKnR1/UdjXPXwsK2uz/rf/ADLhUcPQt0Vh6Zrki366Pr1qNN1Uj5F3ZhufeJ/4v904YenetyvHqU5U5cslqdcZqSugoooqCgooooAKKKKACiiufn1i91a8k0zwrHHPJG2251CUZtrY9wP+ej/7I4HcitaNGdaVooidRQV2Tat4n0iwun09Lhb3VFZVGn2rCS4LMMjKA/KMc5bAA70un+GrzVriPUfFhjk2EPBpcbbreAg5DOf+Wr+5+Udh3r5M+N3wb+LHw18bXfxU8DeItS1tnkae7uYxi7iz94PGOJI+OwwB1HGa9N/Z8/ao0Hxibfw/458jQtfYiNLgnba3LfU/6tj6Hj0PavYoUI0Vdb9/8jknNzeux9KjgUUisGUMpBBGQR3pa2JCiiigAooooAKKKKACiiigArk/iX/x66J/2Gbf+TV1lcn8S/8Aj10T/sM2/wDJqaIn8LJqKKK4TIDXz54svLLRv2thqHimW1torjw55Xhy6v8A/j1iuR94EngHOc9+fcV9B1keKfDPh7xTp4sPEejWWq2ytuWO5iDhT6jPQ/Sqi7DTPnuX4ieMdW0H4s6Trd14abUNB0JZINU8Oh03F8nAkLZOPwwc1W1NE0P4ReFLzWvG3jrUNY8ZNbTBLfVUtgX8rPliVxthjwwyeSSBXvekfDrwLpGjX+j6X4V0u0sNRj8q9hihwJ0/uuepH41a1jwX4T1jw5a+HNU8P2F5pFoqLbWksW5IQowu3uMDiq5kVzI+RrybVdd+A/xP03U9d1m4tvDmp28likuqrdthjtaOSZRiVOc8YGQD2rovHN9e6Lo3w58F+HPFWtXuharby3V3cpr0cE8swVT5AumBVFXPC/hX0lpHgPwZpGmahpmmeGdMtLHUUCXlvHABHOoGAGXoeKrv8NvAMnhiPwzJ4S0p9HilM0do0AKJIerDuCfXNHOg5kcl+zLJ4oHhnWLLxHqa6jFa6iU0931OO+mjhKg+XLLHwWHvjrXrNZHhXwz4f8K6adN8N6PZ6VZlzI0VtHtVmIxuPqeOta9Q3dksKg1D/jwuf+uL/wDoJqeoNQ/48Ln/AK4v/wCgmnH4kS9iz8Lv+SceHf8AsGwf+gCukrm/hd/yTjw7/wBg2D/0AV0lds/iZ0R2QUUUVIwooooAKKKKACiiigApk8Uc8EkEyB45FKOp6EEYIp9FAHlvwtaa10G58OXQIuPD97Lppz/FEp3Qt+MTJXWVzusRSaN8YhIGAs/Eem9PS6tj/NonH/fuuioAK5T4tXul2XgLUf7b0fVtX0y4C211baZGzzmNzgsApBwO5BzXV0AkdOKAPmv9mbSprL4s+IbrwdouvaV4AnslyusQlZJLoEY2FvmIA3dSf5V9KUEk9STRQAU2WSOGJ5ZWCxopZ2PYAZJp1cp8U3mm8Lf2FaTGK7125i0uFh1USnEjD6Rhz+FAGx8E7e4k8ISeILyPZda/eS6kykcrG5AhX8IlSu5qGytobOygs7dAkMEaxxqOyqMAfkKmoAKKKKACiiigAooooAKKKKACiiigArG8UeILfQI7RprS8u5LufyIYrZAzltrN3IGMKa2a474j/8AIT8Lf9hNv/SeWtKUVKVmRNtRuh//AAm5/wChV8Q/9+Y//i6P+E3P/Qq+If8AvzH/APF0UV0+yh2MueXcP+E3P/Qq+If+/Mf/AMXR/wAJuf8AoVfEP/fmP/4uiij2UOwc8u4f8Juf+hV8Q/8AfmP/AOLo/wCE3P8A0KviH/vzH/8AF0UUeyh2Dnl3D/hNz/0KviH/AL8x/wDxdH/Cbn/oVfEP/fmP/wCLooo9lDsHPLuR3Pj+G1ga4uvDevwQJy8jQR4Qepw/SuyHIrzfxz/yKOp/9cD/ADFejr90fSsa0IxSaLpybbTFooorA1CiiigAooooAKKKKACsDxb4iGkLFZWMIvdYuwRa2oOB7yOf4Yx3P4Dmjxb4iGkLFZ2UIvdXu8i1tQcfV3P8MY7n8BzWVoWkmxaa9vLg3uq3ZDXV0wwW9EUfwovQL+J5pTmqauy6dN1HZbFJNB1iVfNvPGmvfaH+aQW0kccQY9QilCQvpyad/wAI9qH/AEOnif8A8CIv/jdb9Fcn1ur3/I6/q1LsYH/CPah/0Onif/wIi/8AjdeQN+yh8O7rXL/VdU1HXb17u4efy/OSNULHJHC88k+le/UVLxNR7saw9NbI8/8ACnwq0bwhamLwlqV/pDgfK8ccByR03ny9zD2JrvfCPiKTUJZNJ1aFLTWrZcyxKfkmTtLET1U/mp4NPrM1/SI9Uiikjme0v7ZvMtLuMfPC/wDVT0KngitqWJbdqn39jKphla8Nzs6K5zwj4ik1CWTSdWiS01q2XMsSn5Jk7SxE9UP5qeDXR10tWOVMKKKKQBRRRQAUUUUAFFFFAFLW9J0/WrBrHUrVLiFiGAbgqw6MpHKkdiOa5OZtX8J/LqLT6toi/dvQu64th6SqPvqP74GR3Heu5oPPWpnCNSPLNXQJtO6MS1uILq3jubWaOeGRdySRsGVh6gipax9S8M3el3MmpeE2jhZ2L3GmSHFvcEnkr/zzf3HB7jvUmh63aaqZYVSW1voOLizuF2zRH3HcejDIPrXk4jCSpe8tV/W51U6ylo9zUooorkNgqrquo2Wl2T3moXCW8C/xN3PYAdST2A5NUNZ1xba8XS9Ntm1LV5BlLWI4EY/vyt0Rfc8nsDVnQ/C7LeprHiC4XUdUXmIAYgtPaJD3/wBo/MfbpXdh8E5+9PRfi/67mFSslpHczrfT9Y8VYk1FbjR9EOCtqDsubsf9NCP9Wh/uj5j3I6V2FhZ2thZxWdlbxW9vEoWOKNQqqB2AFT0V6kUox5YqyObd3e4V88ftB/sv+GfHouNc8KiHQPEbAu2xcW123+2o+6x/vD8Qa+h6KYHwT8O/jP8AE/4B+IU8E/ErS72/0aJgqRztulhjHG63l6On+yTj0xX2l8PPHXhfx/oEet+FdWhv7ZwN6g4khb+66HlT9ab8RvAfhb4g6BJovirSob63IPluRiSFsfeR+qmvi34hfBz4ofs++IX8a/DfVb2/0WM5eWFcyRJ12XEQ4dP9oDH0oA++KK+ev2fP2nvDPxAEGieJ/I8P+I2wqq74trpv+mbH7rH+6fwJr6FoAKKKKACiiigAooooAK5P4l/8euif9hm3/k1dZXLfFBHXwx/aCRtJ/Z11DeMqjJKI434/4CWP4VUVd2IqfCx9FNjdJI1kjYOjgMrDoQehp1cBkFFFFABRRRQAUUUUAFFFFABUGof8eFz/ANcX/wDQTU9ZXiy8Fj4cvp/4zC0cS93kf5UUe5YgVdNNySQnsa/wu/5Jx4d/7BsH/oArpKz/AA1Yf2V4e07TeP8ARbWOE49VUCtCuyTu2dC2CiiipGFFFFABRRRQAUUUUAFFFFAHB/G+18vwlB4kiDfaPDl5HqalRyY0ysy/QxM/5CtSKSOaJJoWDxuoZGHQqRkH8q6O9toL2zms7qJZYJ42jlRhwysMEH6g15X4ct/iB4f0O10JvBa6munobeK7TWIkE0aEiNtrLkHbtyD3oA7Oiuc/tDx7/wBE5P8A4PIP/iaP7Q8e/wDROT/4PIP/AImgDo6K5z+0PHv/AETk/wDg8g/+Jo/tDx7/ANE5P/g8g/8AiaAOjrmrGNNc+MdrEQXg8Nae1y/90XNzlEH1Eauf+B07+0PHv/ROT/4PIP8A4mtn4XaLqmm2Oqalr1rFa6tq+oSXU0McokEUYASKPeOGwiL07k0AdhRRRQAUUUUAFFFFABRRRQAUUUUAFFFFABXHfEf/AJCfhb/sJt/6Ty12Ncd8R/8AkJ+Fv+wm3/pPLWtD418/yM6vwj6KKK6zEKKKKACiiigAooooAxfHP/Io6n/1wP8AMV6Ov3R9K848c/8AIo6n/wBcD/MV6Ov3R9KxxHwr5/oXS+Ji0UUVym4UUUUAFFFFABWD4t8RLpCxWdnCL3V7vItbUHGfV3P8MY7n8BzW9XnvhFVn1XxHqE37y7Orz23mtywijICID2UZPHvSlJQi5MqEeeSiXtB0k2LTXt7cfbdVu8G6umGN3oij+FF7L+PWtSiivOnNzd2ejGKirIKKKKgoKKKKACiiigDM1/SE1OKKSOZ7S/tm8y0u4x88L/1U9Cp4IrQ8I+In1CSTSdWiS01q1UGaJT8ky9pYieqn81PBp9YHjSNEj0vUEGy7ttTtVhmXhlV5kR1z6MpII712Yaq21Tlt08jkxFJWc1ud/RRRXScoUUUUAFFFFABRRRQAUUUUAFY3iXw5Y60I5maW0v4Afs17bnbLCfQHuvqpyDWzRTTA4dNavNFuU0/xYsUG47YNSjG22n9mz/qn/wBknB7GkjvdU8UO0Ph5mstMyVl1Z05f1Fup+9/vngdga63W2sI9IupdUjikskiZpllUMpUDJyDwa474R+NR4qj1C3nWOGa3mLQxKMYgJ+UY9un5VgsNRUufl1/Arnm1a51fh/RNO0Oza20+ErvbfNK7FpJn7u7Hlj7mtKiit229yUrBRRRSAKKKKAChgGBVgCD1BoooA+Zv2gv2VNB8XfaNf8B+RoWunLva422ty3XoP9Wx9Rx7d68r+Fvx/wDiB8G9eHgb4saXqF7p1uwjDTjN1bJ0DIx4lj9Ofoe1fdtcf8U/ht4R+JWhNpPinS47jaD5Fynyz27H+JH6j6dD3FAGp4J8W+HfGmgw654Z1W31GxlAw8Tcof7rDqrD0NblfAPjH4b/ABa/Zr8SP4r8Falcaj4e3/vJ4kLIUz9y5i6f8CHHoRX0V+z/APtJeE/iVHDpOqNHoXiUgA2kr/urg+sTnr/unn60Ae6UUUUAFFFFABTZEWSNo5FDIwKspGQQe1OooA87mtb7waTbvb3F74eBzbzwqZJbJT/BIo5aMdmGSBwRxmrtprmi3abrfVrGQe065H4E8V29ZeoeHPD+oyGS/wBD026c9WmtUcn8SKUoQm7vcydN9DE/tDT/APoIWf8A3/X/ABo/tDT/APoIWf8A3/X/ABrQ/wCEK8H/APQq6J/4Ax/4Uf8ACFeD/wDoVdE/8AY/8Kn2MO7FySM/+0NP/wCghZ/9/wBf8aP7Q0//AKCFn/3/AF/xrQ/4Qrwf/wBCron/AIAx/wCFH/CFeD/+hV0T/wAAY/8ACj2MO7DkkZ/9oaf/ANBCz/7/AK/40f2hp/8A0ELP/v8Ar/jWh/whXg//AKFXRP8AwBj/AMKP+EK8H/8AQq6J/wCAMf8AhR7GHdhySM/+0NP/AOghZ/8Af9f8aP7Q0/8A6CFn/wB/1/xrQ/4Qrwf/ANCron/gDH/hR/whXg//AKFXRP8AwBj/AMKPYw7sOSRhX/iPQ7MES6nbvJ/DFC3myMfQKuSTUug6RqOt6rb61rVq9lY2reZY2EmPMaTHE0voR/CvbOTzXU6bo+k6YP8AiW6XZWfY+RAqfyFXquMYw+Hcap66hRRRQahRRRQAUUUUAFFFFABRRRQAUUUUAFFFFABRRRQAUUUUAFFFFABRRRQAUUUUAFFFFABRRRQAUUUUAFFFFABXHfEf/kJ+Fv8AsJt/6Ty12Ncd8R/+Qn4W/wCwm3/pPLWtD418/wAjOr8I+iiqmtLcvo18lkSLpraQQkf39p2/riusyOB8TfHD4c+H9buNHutWubu7tTi6FhZyXC257h2UYFd3oGr6dr+i2mtaRdLd2F3GJYJlBAdT355H418vfC7xVceGfgKR4T1Hwpp/ibTbi7l8R2uuAi4nZSSAoyCzHGBnjtW/pHjm6uPGHwZ1rVNQttE03VdKvHu4IZPs9mZMHGVzt64xnuayU+5Tie3fETxfpfgXwy/iDWkuGtFmihIgTc26Rtq8E9MmmaL400nVvHWseDbVLn+0tJt4bi4LJiMpIAV2nPJ5Ga+YfF+uz6/8Kfibctq0upWaeN7ZbKQzmRFi8wYCdgv04rqta0fUtd+LXxfsNGvrux1P/hHrGa0mtpSjiWNUZRkc4OMH60e0dw5T6Zor55+CfjXVvin8StI1VLy7j07w94djXUoldljm1CUlTuXo2ApPtX0NWkXdXJasYnjshfB+qMxAUW5JJOABkV20fiDQWUbdb008drpD/WuA+KFq198OvEFiriNrmwlhDEZCllxn9a+dU/Yj8QBcj4g6fnHaxkH/ALNWWI+FfP8AQql8TPs5dY0lvu6pYt9Lhf8AGpV1Cwb7t9bH6Sr/AI18VP8AsU+Ll/1PxA00/W3lH9ajb9jHx4v+r8e6Wf8AgMwrlNz7dW4t2+7PE30cVIGU9GH518Mt+xz8S1/1fjjSj/20nH9KY37IPxYX/V+NdKP/AG9Tj/2WgD7qyPUUV8J/8Mk/GNP9X400z8L+4H/stH/DKvxxj/1fjWx/DVLgf+y0AfdlefeCv9Z4i/7D13/MV8rD9mP9oCP/AFfja3/DWJx/Svev2ZtB1zwz8ObjQ/El4LzVbTV7pLmYTGXe24c7jyazrP8AdP5GtD+Ij1Ciig9D9K849A8p8L/HTw74k8RR6PpPhzxVOHvjYm8XTibaOQNtJZwcADv7V1fw08c6f48stVutNs7q2XTdTm06QT7cu8eMsME8HNeJfsnab4+ntr6+0nxXp1p4aj8TXX2vTZNPEk02GG7Ev8ORj6YrhE1a+074W6rbLqV3pWiah8R57XWr21Yq8NscZG4fdB9fauh04vRHOqkt2fahB9KMH0NfItjqP/CJ+LvHth8G9evtY0G28JNeEi7a7jtrzcACjHPzbcn8/SqHhiXw7puq/C3V/h/4y1PV/FusX8K69btqDzGSNgDN5sZOECncPwz71PsfMftfI+p/iR4rs/A3gnUfFeoWtxdWtggd4oMb2BYLxnjvWzpd2moaZa38assdzCkyq3UBlBAP518NeOZvD2seBfiJrfivxbqUfjyPWpbW30171kBt1kG2MQ9GTGTnttFfbHg7/kUNF/7B9v8A+i1pTgopFQm5NmrWB46Yrpdjjvq1iP8AyYSt+uf8ef8AILsP+wvY/wDpQlVhv4sRV/4cj0Ciiiu44AooooAKKKKACiiigAooooAKKKKAK+o2drqFnJaXtulxbyD543GQ31rlPhtouhWsVxf6d4eu9Kn894/9LH7wrx05+4e1dk5whJOMDrXNfDe4t7nQZJrbW7zWIzcuPPukKOpGPlwewoA6aiiigAooooAKKKKACiiigAooooAbNHHNE8M0aSRupV0cZDA9QQeor5Y+P/7J+m61JN4k+GbRaPqwPmPpu7ZbzN1zGf8Alm3t936V9U0UAfDvwh/aT8ZfDXWB4H+MWnahPb2zeWbmZD9stR23Z/1qe/XHQmvs7wr4i0TxTokGteHtTttSsJxmOaB9w+h9D6g8iuY+L/wn8G/FHRjY+JNPH2lFItr+EBbi3P8Ast3H+ycivjfXvCfxi/Zd8Strnh68k1Lw1LJ88yIWtpl7LPH/AANj+L8jQB+gdFeN/AT9oTwf8UreKxMi6N4iCjzNOuJB+8PcxN/GPbqPSvZKACiiigAooooAKKKKACiiigAooooAKKKKACiiigAooooAKKKKACiiigAooooAKKKKACiiigAooooAKKKKACiiigAooooAKKKKACiiigAooooAKKKKACiiigAooooAK474j/8AIT8Lf9hNv/SeWuxrjviP/wAhPwt/2E2/9J5a1ofGvn+RnV+EfRRRXWYnJeIfhr4A8Qam2qa14Q0i+vmOXnltxvY+5HX8at634G8H63o9no+reGtMu9Psv+PW3kgGyH/dHauiopcqHdnMD4feCRpV1pK+F9MSwu547i4tlh2xySJjYxA7jAxWna6DpFjrV9r1jptrDq17EsVxchcNKqD5FY+gwK1KKLILnnnwM+Hcnw+0XVUvrmzutU1bUZL67ktIykS7j8qIDzgDP516HRRQlZWBu5i+Of8AkUdT/wCuB/mK9HX7o+leceOf+RR1P/rgf5ivR1+6PpWWI+GPz/Qql8TFooorlNwooooAKKKKACvPvBP+s8Rf9h67/wDQhXoNee2gfw34jvtO1JQtvq1/Ld2N3/A7yYJhb+64xx/eHTnipqpyptI0otKomzoqKKK8w9Ep6PpOl6Pbvb6Tp9rYwvK0zpbxhFZ26sQO59arw+HfD8OnXenRaJp6WV5I0t1bi3Xy5nbqzLjBJ9TWpRTuxWRm6DoGh6Bava6Ho9hpkDnc8drAsasfU4HNQaR4U8MaPqMupaT4d0qxvZs+ZPb2qI7Z68gZrZoouwsjEv8Awh4Uv7+5v77w3pFzd3UZiuJ5bRGeVD1ViRkitmGOOGJIYUWONFCoqjAUDgAU6ii7CyCuf8ef8guw/wCwvY/+lCV0Fc7q5fxBrFtoGmr5hs7y3u7+4/5Z24jcOE93bA+XsDk1vhYt1U+xjiGlTfmehUUUV2nCFFFFABRRRQAUUUUAFFFFABRRRQBn+ItXs9D0mXUdQlMNumAX2FgpPAyBzjNc78MfE1vrVlLatqNne30TM8htLZ4o1Qn5fvDrV3x3q2lQadLo93BNqF1fRMkdhbKHmkU8bsdFA/vEgVjfBDT9L03wvJHaXHm3zTE3qOu2WJuioynlcD8+cU+V2uK6vY76iiikMKKKKACiiigAooooAKKKKACiiigAqK8tre8tZbW7gjuLeVSkkUihldT1BB4IqWigD5G+Pf7JyS3Enin4TSf2ffxt5zaV5hRCw5zA/wDA2einj0IrC+Cv7UWv+ENSHgv4yWV6fszeT/aEkRFzbn0mT+Mf7Q5+tfa1ecfGr4M+DPipphi1yzFvqaLi31O3UCeL0BP8a/7J/DFAHc6DrGl69pMGraLqFvqFjcLuingcOjD6ir1fnzdWHxn/AGV/EpurSQ6l4Ynl5Zdz2VyM9HXrFJjvx9SK+sfgZ8dfBfxVskhsLkadripmfS7lgJAccmM9JF9xz6gUAeq0Vm6/rul6FAs2pXSxGQkRRgFpJT6Ig5Y/QVhp4yvLgb7TwlrLxn7rTNDCSPXaz5/OqUXa5LnFbnXUVyL+LNaBGzwbfN9b23H/ALPTf+Et1z/oS7z/AMD7f/4qjkfdfehe0idhRXH/APCW65/0Jd5/4H2//wAVR/wluuf9CXef+B9v/wDFU+R9196D2kTsKK4//hLdc/6Eu8/8D7f/AOKo/wCEt1z/AKEu8/8AA+3/APiqOR9196D2kTsKK4//AIS3XP8AoS7z/wAD7f8A+KpU8Wa0T83gy9A9r23P/s9Lkfdfeg9pE6+iuRbxv9lYHVfDms2UR6zLGk6J7t5bEge+K6XTNQstTso73T7qK6t5B8skTblNDi0rjUk9izRRRUlBRRRQAUUUUAFFFFABRRRQAUUUUAFFFFABRRRQAUUUUAFFFFABRRRQAUUUUAFFFFABRRRQAUUUUAFFFFABXHfEf/kJ+Fv+wm3/AKTy12NcR8VLq1srvwxcXlxDbQrqjbpJXCqP9Hl6k8VtQ+Nf10M6vwlmisj/AISfw1/0MOk/+Bif40f8JP4a/wChh0n/AMDE/wAa7OV9jC6Neisj/hJ/DX/Qw6T/AOBif40f8JP4a/6GHSf/AAMT/GjlfYLo16KyP+En8Nf9DDpP/gYn+NH/AAk/hr/oYdJ/8DE/xo5X2C6Neisj/hJ/DX/Qw6T/AOBif40f8JP4a/6GHSf/AAMT/GjlfYLoZ45/5FHU/wDrgf5ivR1+6PpXkvjHxF4fuPC+oQwa5pksrxbURLpCzEkYAGeTXrS/dH0rDEpqMb+f6GlJ6sWiiiuQ3CiiigAooooAKp6zpllq+nTafqECz28owynt6EHqCOoI6VcooTsBwNpPe+H9Si0LXZmmilO3TtRfgTjtFIe0o9f4hz1zW9WprOmWWsabNp+oQLNbyjDKeCPQg9iDyCOlcba3F7oGpRaFrkzTRSnbp2ovwJx2ik9JR+TDkc5FYV6KkuaPzR00a1vdkb1FFFcJ2BRRRQAUUVh6heX2qam/h/w/IEuFA+3X2MpZIew7NKR0Xt1PvpSpSqOyIqVFBXYaheX2q6k/h/w/IEnXH26+xuSyU9h2MpHRe3U+/W6BpFjoemR6fp8WyJMsxY5aRj952PUsTyTRoGkWOh6ZHp+nxFIkyWZjl5GP3nY9WYnkmr9eilGC5Y7HnSk5vmkFFFFAgooooAKKKKACiiigAooqjrerafoti17qVwsEIOBnlnY9FUDlmPYDmhK4XLxOASTgVyGoeJbzV7iTTvCQjdUbZcarIu6CH1EY/wCWr/T5R3Paqs0WreLDv1RZtK0U4KaerbZ7kf8ATZh91f8AYH4ntW/awQ2ttHb20McMMahUjRQqqPQAdK5K+MjT92Gr/Bf5/kaQpOWr0RQ0LRbPSVkeNpbi7nwbm8nbdNOf9pvT0AwB2FRazocd5dJqVjcPp2rRgCO8hAywH8Ei9HT2P4EVsUV5ir1FPnT1Ol04uPLbQzdD8USLex6P4kt00/U34hkU/wCj3fvGx6H/AGD831611Fc/qmn2ep2T2V/bx3ED9Ucd+xHoR2I5FZEF9q/hMBLw3OsaEuAJwN91aD/bA/1qD+8PmHfPWvWoYqFbTaX5+n+RyzpuHmjt6KgsLy1v7OK8sriK4t5V3RyRsGVh7Gp66CAooooAKKKKACiiigAooooAKKKKACiiigCtqmn2Oq6fPp+pWcF5ZzoUmgmQOjqexB4NfJfxb/ZY0zRPEdv408Ea9PoOmW9wJry1V2823Gf+XZhzkn5Qp6EjntX17XKfEw7tM0uBuUm1a2Vx2IDFv5qKcbX1Jk7JmP4a0maALqmsSNdazNGBJLIdxhXAxEmegHc/xHJNbtBorjlJyd2YpWCiiipAKKKKACiiigAooooAKwL7PhfUf+Ei09WSzdwNVtU+46E488Ds69SR1XOe1b9VNahW40e+gkAKyW0ikH0KmtaM3GS7Cfc7BWDKGUggjII70tYfw+uZLzwLoV1KSXksIWYnudgrcrpas7HQndBRRRSGFFFFABRRRQAUUUUAFFFFABRRRQAVDe3VtY2kt5eXEVtbQoXlllcKiKOpJPAFY3jTxdpPhW0je+aWe8uDts7C2XzLm6f+7Gnf3JwB3Irim0XWPF13HqXjry1tI332ugQvut4v7rTt/wAtpB6fcU9AetAHceEfFvh3xZbzT6BqkV4IH2SqAVdPQlWAIBHIOMEcjNblec+IvC9vqV3Dq2n3U2j65bKFt9RtQA4Uf8s5F6SR/wCw34YPNWvC/jq4i1KHw542todK1iT5ba6jJ+xagf8Apkx+6/rG3PpuoA7yiiigAooooAKKKKACiiigAooooAKKKKACiiigAqG7tbW7QR3VvDOgOQsqBgD64NTUUAUP7F0b/oE2H/gMn+FH9i6N/wBAmw/8Bk/wq/RTuxWRQ/sXRv8AoE2H/gMn+FH9i6N/0CbD/wABk/wq/RRdhZFD+xdG/wCgTYf+Ayf4Uf2Lo3/QJsP/AAGT/Cr9FF2FkUP7F0b/AKBNh/4DJ/hR/Yujf9Amw/8AAZP8Kv0UczCyKA0XR1YMuk2AIOQRbpx+lX6KKVx2CiiigAooooAKKKKACiiigAqnrOmWWsabNp+oQia3lGGU8EHsQexB5BHQ1cooTsBxsPhnxVbxiCHxZbSRJ8sbXGmb5NvbcwkG4474Gad/wj/i7/oaNN/8FB/+O12FFPTsvuQ7y7v7zyL4wr8SfDXw71XV/DmoQ6xqsUYFvbWujEuSWALf6w8AZPQ9K+adA/ax8aWOpjTvGmk29p5fyzPBYETK3vG7qP1Ffedcx42+H/grxpbtD4o8NabqeRgSSwjzV+jj5h+BqbRvey+5D55W3Z5V4B+KHh3x9CkGkfFXSLW6mG021zpX2a5XP93fKQT6EbhmvbPD+k2OiaXHYafHtiXLFidzSMers38THqTXy/8AEP8AYt8OXqyXXgbxBdaTPnKW17++h+gYfOP1rzc6T+1J8D5d9jJqWraPCOkLG/tSo9UPzJ+Qqr6WSJd3uz74or5A+H37aVoWWy+IHhaa0mVtr3WnHco9d0TnI/An6V9F+Afir8PvHUUZ8M+KdPvJnAP2ZpPLnHsY2w2fwpAdpRRRQAUUUUAFFFFABRTLiaK3heaeRIokUs7uwCqB1JJ6VxtzrWqeJnNv4dd7DSuRJqrJ88w9LdT2/wBs8egPWk2ormk7IOtkafiHxPHZ3f8AZOlW51PWGGRbo2EhB6NK/RF/U9hWfpehyfbl1jXLoalq2PkcriK2HdYU/h/3vvHuavaNpVjo9p9msYdik7pHYlnlbuzseWY+pq9Xl4jGOfuw0X4s6adG2stwooorhNwooooAKBRRQBz9xo15pd5JqnhaSO3mkbdcWEhxbXJzycD/AFb/AO0OvcGtzw54js9ZMlv5ctnqMA/0iyuBiWP39GX0YZBqSszXdFtNWEckjS215Bzb3kDbZoT7HuPVTkHuK9HD45r3auq79f8AgnNUodYHU0Vx+n+JLzSbiPT/ABb5cYdtlvqka7beY9lcf8snPoflPY9q7AcjNel0utjnuFFFFAwooooAKKKKACiiigAooooAK5T4lf8AHpov/YYt/wD2aurrlPiV/wAemi/9hi3/APZqaIn8LJaKKK4TIKKK4H41fEN/AWj6emnaW2r69rF2LPS7ENtEkh6lj2UZH500rgjvqK8T8VeNPjD4T+HfifWvFGheHLa4sbFLixu7GZpYvMMiqYpEY5yAxORxxXaX/wATfCHhvw9od54y8RWGlXWpWUVwsb7iWLKCSFUEhcnr0p8rHZncUVyPiD4meAdA0bT9Z1fxVp9tp+pKWsp9zOs4HUrtBJxkU9/iP4FTwra+KW8T2A0S6uBaw3uW8tpTnCHjKng9cY70rMLM6uisrwr4i0TxVo0es+HtRh1HT5HZEuIgdrMpww5APBFatIQVBqH/AB4XP/XF/wD0E1PUGof8eFz/ANcX/wDQTVQ+JCexa+GH/JOfDv8A2DoP/QBXR1znww/5Jz4d/wCwdB/6AK6Ou2fxM3jsgoooqSgooooAKKKKACiiigAooqnreq6bommT6nq17BZWcC7pJpnCqo/x9upoAuVwXiTx1cXWoz+HfA9vDqeqRHZdXspP2LTz3EjD78npGvPqVrJvdQ8RePyY4De+G/CrcFuYr/UFz27wREd/vkH+Gui0jTdP0jTotO0uzhs7SEYjhiXao/xPqepoAy/DXhi20m6m1S7up9W1y5GLnU7rBlcf3EA4jjHZF4+p5rfoooAKp6zpen6zpsum6rZw3lpKPnilXIOOh9iOoI5FXKKAOTsdU8QeAAI75rzxF4VQACfBlv8AT1/2wOZ4gO4+cDqG616Po+p6frGmwalpV5Be2c67opoXDKw9iKxK5S78Paloeoza54FnhsrqVt93pcxIsr455JA/1Uh/56KOf4gaAPUaK5nwX4003xK01kYptN1m1H+l6Xd4WeHnG4dnQ9nXIP6V01ABRRRQAUUUUAFFFFABRRRQAUUUUAFFFFABRRRQAUUUUAFFFFABRRRQAUUUUAFFFFABRRRQAUUUUAFFFFABRRRQAUUUUAFFFFABRRRQBwnxA+EHw58dRSDxF4VsJrhwf9KhTyZwfXemCfxzXzr4+/YuMM39ofDvxZJbyodyW2o5yp7bZUGR+I/GvsWigD4HTxT+1D8EXaPWbbUNU0iHgtdx/brbaO4lX5lH1I+len/Dz9s/wnqIitvGuh3miXB4e4tf38GfXH3wPwNfVDKrKVZQykYIIyDXl/xE+APws8cK8mpeGYLO8bJ+16f/AKPLn1O3hvxBoA6/wb448IeMrX7R4X8Rabqq4yVt5wXUf7S/eH4iuir4o8Y/sdeKtCvzqvw08YeY8Z3RRXLm2uEPoJU4P4hawLX4x/tHfB51s/G2j3Wo2EbYDarblwR6LcJ1/EmgD72rK8R6/p+h26Pdu7zynbb20K75p2/uoo5P16Dua8W+GP7RsPxF0SZ9L8NXGkXkMkcE93eyB7G3dwcFpFwT0OFIGfWvUdE0OGxuJNQuLiTUNUnH729mwWI/uoBwieij9ayr1o0Ypy67DhFzdkVDpmpeIplu/FG2O0Vt0GkRtujX0Mx/5aN7fdHv1roQAoCqAABgAdqWivGrVp1XeR2QgoLQKKKKyLCiivEP2soPFkml+HrjS4dduvDMF4z+ILfRJTHePFgbSpHO0fNnHtmrpw55ctxSdlc9uYhfvEL9TigMpJAYEjqAelfLGs6v4Ab4LeHJvDd7rfiXTW8YWqeXqmoSLc2UzH7jEc4GMhTwc9ap+Jde8VeH7z4/ar4VkEd3bahamS4MxR7aLYd0kfqwOBj3NbLDt9f6uR7Q+tKK4f4Hap4t1n4b6XqPjK0tIL+aCNont5/N8+IxqVlc9nbJyK7iueSs7Fp3QUUUUhkd1BBdW8ltcwxzQyKVeORQysD2IPWsCGPV/Ch3aYs2q6KDlrFm3XFsP+mLH76j+4efQ9q6Oit6GInRem3YznSU/Us6Lq2n6zYre6bdJcQklSRwUYdVYHlWHcHmrtcXreki2nm1/Sb6LSNQRC00z/8AHvOo7TL0I/2uGHr2r5/+L37WHiDwV4rj0e08G2E8RtY5jJcTyDzC2fmQgcxnGQcDNezSqRqx54HG04vlkfWlFfDqftv+JP4/Amkn6Xkg/pU6ftwa1/H4B08/S/f/AOJqwPtuivipP24dQ/j+H9qfpqLf/EVMn7cUv8fw8Q/TU/8A7XQB9n0V8bp+3HF/H8OXP01Uf/GqlX9uOx/i+HFx+Grr/wDGqAPsOivj9f24tM/i+Hd4Ppqq/wDxupF/bh0X+L4fagPpqSH/ANkoA+vK5T4lf8emif8AYZt/5NXzkv7cHh/+LwDqg+l9Gf8A2Wrvh79p7RPif4x8OeErPwtqGnTz6nHKJpbhHUBFYkYAzTRM/hZ9C0UUVwmIV5F+0d4c8TXk3hLxn4T07+1dQ8Lan9rewBw88TY3bfUjb0969do6GmnZjTseB/E3xT4m+I3wi8XaVZfDbxJpSf2ehja+jAknm81P3ccY5bAyc+1cZ498JeK9K8e6f4kl0rxPc6beeGrSxD6NZ29zNbSJGFeJ0mRgoJycjHXr1r6vyc9aKpTt0HzHy1faX4t8LeAfA2meH/DPidNFH2tr1v7OtrrVbVnfKJh1KRq3XgdPpWJYeB/FTfAJdFvfDGqm6fx/HcyWk9uDIbc/edlUbdvPJA2+nFfYGTS8+9HOPmILS1tbO3W3s7eG2gT7scSBFH0A4qaiioICoL/mxuB/0xf/ANBNT1BqP/IPuf8Ari//AKCaqPxIT2Pmvw9+2L4b8OaJZ+H5vBurTyadCtq8qXUYDlBtJAI6HFaA/be8Kd/BGtD/ALeYq9h+H3w0+Ht/4E0O8vfBegz3E1hFJLLJZIWdioJJOOSTW03wj+GDfe8B+Hj/ANuKf4V2z+JnRHZHgy/tu+EP4vBeuD/tvF/jUi/tt+Cz97wfro/7axf417i3wd+FjdfAPh7/AMAk/wAKjb4L/CdvvfD/AMP/APgGtSM8WX9tjwN/F4U18f8AAov8aev7a3gLv4Y8QD/v1/8AFV7E3wR+Ebdfh74f/wDAQVGfgX8Hz1+Hfh//AMBhQB5Kv7anw9/i8O+IR/wGP/4qnr+2l8OT10HxCP8AtnH/APFV6qfgR8Hj/wA070H/AMB//r0xvgH8G26/D3RPwjI/rQB5iv7aHw176N4iH/bGP/4upF/bO+GB+9pfiIf9u8f/AMXXor/s9/Blv+af6UPpvH/s1Qv+zp8F2/5kPTx9HkH/ALNQBwi/tl/Cs9bDxEP+3VP/AIupPht8QvC/xm+JGqahGupXVlpsEMukWt/GEhiccTOIwSGkDFDuOSAwxiuxf9mz4Kt/zI9qPpPKP/Zqq6z4B8M/C2LQNX8G6OmnWMGreVqKK7NmK6CwliWJOFcRH04NAHoFFFFABRRTJpYoYXmmkSKJFLO7sFVQOpJPQUAPorK8NeI9B8S2k154f1a01S3hlMMkttIHVXABK5HfkVq0AFFFFAHFfGK0tF8JXGtpHMmt2KgaTdWrbLiO4dgsaqw6hmIBU5BGcivU9NS6j062jvpVmulhQTyKuA7gDcQO2TmvOdehl1r4heFtAjYfZrWSTWb4eqw/LCv4yuD/AMAr06gAooooAKKKKACiiigAooooAKKKKACiiigAooooAKKKKACiiigAooooAKKKKACiiigAooooAKKKKACiiigAooooAKKKKACiiigAooooAKKKKACiiigAqK7t7e7t3t7qCKeFxh45UDKw9CDwalooAw9B8H+FtAtL600Xw/p1hbahIZbuGCBVSZiMZZenQVjXOj6p4XJn0FJdS0gEs+mM2ZYB6wMeo/6Zn8D2rtaKUoxkuWSug2d0c5o+qWOr2f2rT5xLGGKuMENGw6qynlWHoau1S8QeGFurw6vo1wNM1gDBmVcx3A7LMn8Y9+o7GqOla4z3w0jWbX+zNWx8sLNmO4A6tC/8Y9uo7ivKxGDdP3oar8V/Xc6ada+ktzboooriNwriviT4d8bavdafqHgnxuPDl1aq6Swz2YuLe5VsYLKejLjgj1rtaKcZOLuJq54QP2fpI/BkWlL4nFxq0/iWHX9Tvprbas8iE5REU/KOeK3Z/g6bx/ifHe60ot/HBQx+VCd9ptXAzk4bnB7cV61RWnt59yeRHI/CTw74i8KeC7XQvEniCDW7i0AignhtfJVIVUKiY7kAdT6111FFZt3dykrBRRRSGFZuu61Z6QkazeZNdTkrbWkC7pp29FX+ZPA7mqN1rV3qV5LpXheGO7uYyVuL2TP2a0PoSPvv/sD8SK2/Dfhuz0eSS7eSS+1Ocfv76fBkf/ZHZF9FHFejh8C371XRduv/AADnqV+kTLsPDd7rE8eoeLPLMaNvt9KjbdDH6GU/8tX/APHR2B610lzpmm3Lh7nT7SZwAu6SFWOPTkVbor0lZJJbHOZraBoLfe0XTT9bVP8ACmHw14cb72gaUfrZx/4Vq0UAY7eFfC7fe8N6OfrYx/8AxNRt4O8It97wtoh+thF/8TW5RQBz7eCPBjfe8JaCfrp8X/xNRnwD4Gbr4N8Pn/uHRf8AxNdJRQBzDfDvwC33vBfh4/8AcOi/+JqNvhr8PW+94H8On/uHRf8AxNdXRQByDfC/4cN97wL4cP8A3Dov8K5/xd4D8FaDPoWpaL4U0bTr1dXgVZ7azSNwCGyAQM816fXJ/Ev/AI9NE/7DNv8AyamtyZ/CyavNf2jvGmreCfh19r0Dy11jUL2HT7OSRcrE8h5fHsBx716VXFfGnwHH8RfAs/h/7abC7WZLmyugu7yZkOVJHp1Brija+pktzjpPAvjHwj4Y1rWbr4n67rX/ABI7w31reAFDN5LFXhI5j2t+lc38B/jFcW/hnwH4c8Q+G9eSLVl+xW2vXThormcE8DJ3EdBuNddp/h341appl9pXi7xD4XNjJpdxaBbK3fzLqR4iiPIzD5QCQTt61Qg+E3iCPwh8KtIN5p5n8Iaglzfne22RRniPjk898VenUq6L/jL4z3nhPWZU1j4d+IINCivVs21dnjEZLNtDhM5Kk9KTxl8bDofjDXPDGm+Btb1+60e2ju5pLNl2CFk3M7E/dwMcc5rzrxd+z7471jVtYZtS8M38d3qv2+HUr1Zjfqm8MIQ3KooHYV6nY/D3WIPiL478RNdWn2XxDosNhaoGO9JEj2kvxgDPpmi0QtExvD37QOm6vq3hxW8H6/Y6L4huBaWWrXKqInuD1QAEkgHjd+NcV4b+Kus+DfF3xRlufDXiLxLp1lrrSTTwSgw6fAMjHzHj/dHpXVW/wf8AEUfw8+GXh1r3TvtPhXWUvr1t7bJEDMSE45PPfFZ2s/Cf4ppd+O7fw74g8O22leMdQkkuUuInaWGFuNysBjcQWBH60/dDQ63xJ8bNNtrnSLHwr4d1PxXf6npq6otvZsqeTbN0Zy3frx7VT1H4/aLF4Z8K65p3h3VtT/4SOee1htINvnxXEWAYyvcliBkH3rm/GH7P97Hqehal4VXw7qh0/RotKuLTxBAzxSeX92VSvIbrW5a/CfXI3+G8oTw7Yt4b1O4vdQg06JoYGEmMCJcHJ45zilaIWieteGr+71TQbPUL/SrjSbqeIPLZTsDJA391iOCas6j/AMg+5/64v/6CanFQaj/yD7n/AK4v/wCgmph8SM3sWvhd/wAk48O/9g2D/wBAFdJXN/C7/knHh3/sGwf+gCukrtn8TOiOyCiiipGFFFFABRRRQAUUUUAFY/jXRI/EnhHVdCkbaL61eFX/ALjEfK31BwfwrYooA888A6tJrXg7TNQuCPtRh8q6A/hnjJSQf99q1btcr4fjj0P4h+KPDSgpFcSJrVop6bZsrKB9JUJP++K6qgAqlrmj6Zr+mS6RrFnHe2NwVE0EmdsgDAgHHUZA471drL8V6FZ+JfD93oeoS3cVtdKFke1mMUoAIPyuOR0oA8h/Y6hit/CvjCCCNIoo/FV2iIgwFACgADsK9yrz34a/B/wh8PdZm1Xw7JrCzTRvHIlzftLG24glip43fKOetehUAFFFYvjnWf8AhH/CGqawqGSW3t2MEY6ySn5Y1HuWKigBnwphTVPEfinxdv8AMSe7XS7M9hBbZDEfWVpP++RXodYXw/0NfDfgvSdEUfPa2yrKf70pGXb8WLH8a3aACiiigAooooAKKKKACiiigAooooAKKKKACiiigAooooAKKKKACiiigAooooAKKKKACiiigAooooAKKKKACiiigAooooAKKKKACiiigAooooAKKKKACiiigAooooAKoa7o+na3Ymz1K3WaPO5Gzh427MrDlWHqKv0U07A1c4aWfVvCreXrLS6lo2cJqSpmW3HpOo6j/poB9QOtdBBLFPAk8EiSxSKGR0YFWB6EEda2GAZSrAEHgg965C+8N3uizSX/AIT2eU7b7jSZG2wyepiP/LJ/b7p9B1rir4ONT3oaP8P+B+RpCq46PVG1RWboWtWerxyCDzIbmAhbm1mXZNA3oy/yPQ9jWlXlSjKD5ZKzOtNNXQUUUVIwoorI1rXYrG5j0+1t5NR1WYZisoCN2P77noif7R/DNXTpyqS5Yq7JlJRV2X9SvrPTbKS8v7mO3t4x80jnAHt7n2rGgtNX8WfNcLc6NoR/5Z/cu7se/eJD6fePtV7RvDE0l7FrHiaeO/1BOYIEB+zWn+4p+83+2efTFdTXr0MLCjq9ZfgvT/M5J1JT8kV9NsbPTbKKysLaK2tohhI41woFWKKK6SAooooAKKKKACiiigAooooAKKKKACuT+Jf/AB6aJ/2Gbf8Ak1dZXKfE/EejWF452xWuqW0sjHoq79pJ9vmpx3In8LJaKO9FcJkFFFFABRRRQAUUUUAFFFFABVfUf+Qfc/8AXF//AEE1Yqjr9wlroV/cyHCxW0jH8FNVD4kJ7Gh8Lv8AknHh3/sGwf8AoArpKxfAlnJp/gvRbGUESQWMKMD2IQZrartl8TOiOyCiiipGFFFFABRRRQAUUUUAFFFFAHnvxVRtL8R+FvFSRjy4rttLvW9IbnAVj7CVY/8Avo1uVZ+IGht4l8FatoccgimurZlgk/55yjmNvwYKfwrnPBWtDXPCemarKyJPcW6mdNw+SUfLIv4MGFAG1RTfMj/56J/30KPMj/56J/30KAHUU3zI/wDnon/fQo8yP/non/fQoAdXLeKI5NY8a+FfDUY3Qm6bVb3uPKt8FAfrK0f/AHya6fzI/wDnon/fQrE+GUS6t4z8U+KfMEkSSpo9kR0CQfNKR9ZXYf8AAKAPQ6KKKACiiigAooooAKKKKACiiigAooooAKKKKACiiigAooooAKKKKACiiigAooooAKKKKACiiigAooooAKKKKACiiigAooooAKKKKACiiigAooooAKKKKACiiigAooooAKKKKACiiigDD8SeG7TWJI7yOWSw1OAfuL6DiRf9luzp6qePpWNaa1d6fex6T4ohjtLqQhbe7jz9muz6KT9x/wDYb8Ca7Wq+pWNnqVlJZX9tFc28ow8ci5BrOrShVVp/eOMnB3iUaRiFUsxAAGST0Arnri11rwmC1ul3rmiDAES/PeWo9s/61Pr8w96fbaJqfiZluPEaPY6Xw0elK/zy+9ww6/7g49c1wRy+fNZvTv8A8A3eIVttRi6lqXiOZrXwwRFZg7ZtXkTMY55WFT/rG/2vuj36V0nhzQdP0K2aKzR3llO6e5mbfNO3952PJ/kO1aMMUUMKQwxpHGgCoiLhVA6AAdKfXowhGnHlgtDnbcneQUUUVQBRRRQAUUUUAFFFFABRRRQAUUUUAFFFFABVTWNPtdW0u5029jElvcxmORfY/wBat0U07aged6bqE+k3SeH/ABFIIr1Pktbp+I75B0ZT034+8vXPI4rerd1LT7HUrRrTULSC6gbrHKgZT+Brmn+H2iBj9ku9bsU/5522pzKg+g3HFRKlCTvexi4SWxY5o5qt/wAK/wBP/wCg74m/8G0v+NH/AAr/AE//AKD3if8A8G0v+NT7CP8AN+AuWXYs80c1W/4V/p//AEHvE/8A4Npf8aP+Ff6f/wBB7xP/AODaX/Gj2Ef5vwDll2LPNHNVv+Ff6f8A9B7xP/4Npf8AGj/hX+n/APQe8T/+DaX/ABo9hH+b8A5ZdizzRzVb/hX+n/8AQe8T/wDg2l/xo/4V/p//AEHvE/8A4Npf8aPYR/m/AOWXYsOyohd2CqBkknAArBgU+NL+K0swW0CCUSXl2OEumU5EMf8AeXIBZunGOcmtq28AeHkkEl4t/qhHRb+9knT/AL5Y7T+IrqYY44YlihjSONRhVUYCj0A7VcIRg7p3Y1Tb3HUUUUzYKKKKACiiigAooooAKKKKACiiigArlrr4c+A7q5lubjwfoks0zmSR2s0JdicknjqTXU0UAcl/wrP4e/8AQl6F/wCASf4Uf8Kz+Hv/AEJehf8AgEn+FdbRQByX/Cs/h7/0Jehf+ASf4Uf8Kz+Hv/Ql6F/4BJ/hXW0UAcl/wrP4e/8AQl6F/wCASf4V0OjaXpui6dHp2k2NtY2cWfLgt4wiLk5OAOOSSa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B//Z">
            <a:extLst>
              <a:ext uri="{FF2B5EF4-FFF2-40B4-BE49-F238E27FC236}">
                <a16:creationId xmlns:a16="http://schemas.microsoft.com/office/drawing/2014/main" id="{D0936C4F-CC47-449E-BACA-6842E0C4876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6E412CA-8E65-485E-A9CD-2519B86B5B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6010" y="2365472"/>
            <a:ext cx="8215179" cy="3929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075593"/>
      </p:ext>
    </p:extLst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CEE00-3D45-4FC5-9473-890F0E79E0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65126"/>
            <a:ext cx="11090275" cy="942382"/>
          </a:xfrm>
        </p:spPr>
        <p:txBody>
          <a:bodyPr/>
          <a:lstStyle/>
          <a:p>
            <a:r>
              <a:rPr lang="en-GB" dirty="0"/>
              <a:t>Data at </a:t>
            </a:r>
            <a:r>
              <a:rPr lang="en-GB"/>
              <a:t>a glance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E5028F-9589-4FBD-8EF3-F7F6BB7A6A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50863" y="6412794"/>
            <a:ext cx="427037" cy="365125"/>
          </a:xfrm>
        </p:spPr>
        <p:txBody>
          <a:bodyPr/>
          <a:lstStyle/>
          <a:p>
            <a:fld id="{2A9F5221-8F83-417D-946C-8FCE67785275}" type="slidenum">
              <a:rPr lang="en-GB" smtClean="0"/>
              <a:t>4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1777900-34A0-47F0-B0FE-0794BFBD17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806" y="1775416"/>
            <a:ext cx="5829867" cy="3969997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9768A27-692F-4871-9522-E430FFF7C5D4}"/>
              </a:ext>
            </a:extLst>
          </p:cNvPr>
          <p:cNvSpPr/>
          <p:nvPr/>
        </p:nvSpPr>
        <p:spPr>
          <a:xfrm>
            <a:off x="1410333" y="1592419"/>
            <a:ext cx="32325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Maintenance jobs on Gulli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F1564DB-71C9-484A-85DA-66D72B745DAA}"/>
              </a:ext>
            </a:extLst>
          </p:cNvPr>
          <p:cNvSpPr/>
          <p:nvPr/>
        </p:nvSpPr>
        <p:spPr>
          <a:xfrm>
            <a:off x="764381" y="4219660"/>
            <a:ext cx="1935046" cy="1568743"/>
          </a:xfrm>
          <a:prstGeom prst="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500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8194BB6-08F7-4DB3-ACC0-BDDFD264E4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8095" y="1981687"/>
            <a:ext cx="3828188" cy="360746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8B09BA2-89E3-410A-8090-506924C3C10B}"/>
              </a:ext>
            </a:extLst>
          </p:cNvPr>
          <p:cNvSpPr/>
          <p:nvPr/>
        </p:nvSpPr>
        <p:spPr>
          <a:xfrm>
            <a:off x="6409190" y="1590750"/>
            <a:ext cx="56828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Gully maintenance (2018-19) with weather information</a:t>
            </a:r>
          </a:p>
        </p:txBody>
      </p:sp>
    </p:spTree>
    <p:extLst>
      <p:ext uri="{BB962C8B-B14F-4D97-AF65-F5344CB8AC3E}">
        <p14:creationId xmlns:p14="http://schemas.microsoft.com/office/powerpoint/2010/main" val="913750378"/>
      </p:ext>
    </p:extLst>
  </p:cSld>
  <p:clrMapOvr>
    <a:masterClrMapping/>
  </p:clrMapOvr>
  <p:transition spd="slow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75C55B0-1C09-47B4-8C18-1E334630CC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6122" y="1341266"/>
            <a:ext cx="6066407" cy="1859134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What worked?</a:t>
            </a:r>
          </a:p>
          <a:p>
            <a:pPr lvl="1">
              <a:buFont typeface="Arial" panose="020B0604020202020204" pitchFamily="34" charset="0"/>
              <a:buChar char="+"/>
            </a:pPr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Regression model</a:t>
            </a:r>
          </a:p>
          <a:p>
            <a:pPr lvl="1">
              <a:buFont typeface="Arial" panose="020B0604020202020204" pitchFamily="34" charset="0"/>
              <a:buChar char="+"/>
            </a:pPr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Anomaly Detection</a:t>
            </a:r>
          </a:p>
          <a:p>
            <a:pPr marL="0" indent="0">
              <a:buNone/>
            </a:pPr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What didn’t work?</a:t>
            </a:r>
          </a:p>
          <a:p>
            <a:pPr lvl="1"/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Classification model</a:t>
            </a:r>
          </a:p>
          <a:p>
            <a:pPr marL="276212" lvl="1" indent="0">
              <a:buNone/>
            </a:pPr>
            <a:endParaRPr lang="en-GB" b="1" dirty="0">
              <a:solidFill>
                <a:srgbClr val="002E5F"/>
              </a:solidFill>
              <a:latin typeface="Arial"/>
              <a:cs typeface="Arial"/>
            </a:endParaRPr>
          </a:p>
          <a:p>
            <a:pPr marL="276212" lvl="1" indent="0">
              <a:buNone/>
            </a:pPr>
            <a:endParaRPr lang="en-GB" dirty="0">
              <a:solidFill>
                <a:srgbClr val="002E5F"/>
              </a:solidFill>
              <a:latin typeface="Arial"/>
              <a:cs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2D32590-9556-4431-BF5A-5F38BDC49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65126"/>
            <a:ext cx="11090275" cy="942382"/>
          </a:xfrm>
        </p:spPr>
        <p:txBody>
          <a:bodyPr/>
          <a:lstStyle/>
          <a:p>
            <a:r>
              <a:rPr lang="en-GB"/>
              <a:t>Project Outcomes</a:t>
            </a:r>
            <a:endParaRPr lang="en-GB" dirty="0"/>
          </a:p>
        </p:txBody>
      </p:sp>
      <p:sp>
        <p:nvSpPr>
          <p:cNvPr id="2" name="AutoShape 6" descr="data:image/jpg;base64,%20/9j/4AAQSkZJRgABAQEAYABgAAD/2wBDAAUDBAQEAwUEBAQFBQUGBwwIBwcHBw8LCwkMEQ8SEhEPERETFhwXExQaFRERGCEYGh0dHx8fExciJCIeJBweHx7/2wBDAQUFBQcGBw4ICA4eFBEUHh4eHh4eHh4eHh4eHh4eHh4eHh4eHh4eHh4eHh4eHh4eHh4eHh4eHh4eHh4eHh4eHh7/wAARCAFKA0Q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82+MXxUh+HuqaLZf2RLqQvH86/dJNosbMOkbTtxzhpFGPrzQB6TRWbruv6HoVil9rWr2OnWrkKkt1OsasT0AJPNV9U8XeFtLs7S81LxFpVpbXoBtZZrtEWYHuhJ+YfSgDaorJ13xN4c0FYG1rXdN00XB/c/arlI/M/3dx5rB8WfFDwd4X8U6N4e1jVra3n1aKSaKVpkWKJFXIZyWGA3RSAckGgDtKKRSGUMpBBGQR3paACiiigAooooAKKKKACiiigAorn/AIj+Iz4Q8B614nFp9rOmWj3Ag37fM2jpnnFZfgzxB4vvLc6l4u0PRNE0o2q3CXEOqGUjIBwwZFCjB65oA7SiueTxdoup+H9T1LwzrGkau1jC7ny75PKVwpIEjjOwcdT0HNY+meN7ufxfoWh3drYRxaj4ffVp54bnzUjZWjG1H6MmHJ3ewoA7mis4a9opsbG+GrWJtb90js5vPXZcO33VQ5wxPYDrULeJ/Da6tHpDa9pg1GSVoUtTdJ5rSKASoXOcgEHHvQBr0VkWHijw3f6zNo1jr+mXOpQ5821iukaVMdcqDnirup6lp2lxRy6lfW1nHJIIkeeUIGc5IUE9+Dx7UAWqK5z/AITzwT/Zf9qf8JdoX2HzvI+0fb4/L8z+5uzjPtWlrOvaJo2mDU9X1ewsLE4xcXFwscZz0wxODmgDRorOt9d0W40Q65b6vYS6WELm8S4UwhR1O/OMfjXL6F8Q7HXfiWPDei3Gnajph0X+0Rf2twJMuJvLKfLxjHPrQB3NFZGl+KPDeq6pPpema/pl7fW+fOt4LpHkTHXKg5rXoAKKKKACiiigAoorz7xp408T2PxDtPBvhbw7p+qXU2ltqUkt5fm3VEEvl7RhGyc0Aeg0Vzcni3TdF02xPjTVNF0HUrhAXt5L9dobPRWbaWHvgVJqWvXNv4r0rS7dNNls720nuGke9Cz/ACBSvlxYzIp3csDxx60AdBRXHfDLxvB4o8G6Dq+pNZ6ff6wsxgtBNy5jdgwQHlsBcn0rem8QaFCt60usWEa2EqxXha4UC3dsbVfn5SdwwD6igDTorDPjDwmNJn1c+JNI/s+CYwS3X2xPKSQdULZxu9utaelajYarYRX+mXtve2kozHNBIHRh7EcGgCzRXnWreP8AXb3xdqXhvwJ4Xh12XR9q6pd3V8LWCGVl3CFTtYu+0gnjAyMmuh/4TDTdM0Gxv/GNxY+F7q5X57W+vYwUfPKhs4b6j1oA6SiqQ1bSy9ig1G0LagCbMCZT9owu47OfmwvPHamSa5o0a6g0mrWSLppAvi06gWxKhh5nPy8EHnsaANCisiw8T+G7/RZdbs9e0240yIkSXcdyhhQjrls4FT6Drmja/ZG90PVbLUrYMVMtrOsihvQlT1oA0KKKKACiiigAooooAKKKhv5/stjcXW3d5MTSbc9cDOKAJqK88+BPxLHxL8Ly6lc6V/Y9/A0ZlszN5mIpY1kikBwMhkb06gjtVT4b/FmDxp8QPE3h6HSvsunaPGJbfUXmBW7QSPG7hcfKoeN8HPOKAPTqKxtF8U+HNdluYdD17S9Tnth+9jtrpJCn+9tJwPes/QPGNjJ4X0/VfEmoaHpc94krqsepJLCwQnJSQ4DYABOOlAHU0VxnjH4neDvDPgSTxnNq9rfaUHEcT2c8cnnuWxtQ7gCRySM9Aa1v+Ey8Jjw/H4gbxHpSaVI21LxrtBEzdMBs4Jz2oA3aKzT4g0IabbakdZ08WV0wW3uPtCeXKSCQFbOCcA/kabo3iTw/rVhNqGka3p1/aQErNPb3KOkZHUMQcD8aANSisfQ/FPhrXRc/2Lr+maj9l/1/2a6STyv97B4pmneL/Cmo6lDpun+JNIur2aITRW8N5G8joRncFByRigDborJvfE/hyx1qHRLzXtMt9Tnx5VpLdIsz56YQnJpL7xR4bsdZh0W91/TLbUpseXaS3SLK+emFJzzQBr0VmeKJ9cttIeXw7p9nqGoBl2QXVyYIyM8kuFbHHtXnngH4ieMtfvdSm1bwzoOkaPpGpTafqV42sEmJ4lBZlBjAK/MvJI70AerUVlaH4l8Pa5ZzXmja5p2oW0BImltrlJFjOM/MQeOPWuX8c/ErSNM+Hes+KfC9/pevPpjQo8cN0HQM8qJhihOOGJ/CgDvaKpQarps2pyaVHfWzajFCs8tqsoMsaNwGK9QCehq7QAUUUUAFFFFABRRRQAUVwXxf8W+LPBmiXviDSPDmm6rpOn2T3V28+oNBKNmSVVQjA8D1FO8O+N7230VdW+ISeHvC9tcpG9k39rB/NDLk53qmCMjpnrQB3dFZV/4k8P6fosetX2uadbaZKAY7uS5RYnB6YYnBz7Vi3njOP/hNfC2j6b9kvdP122u7gXkcu4AQqhXaRwQdx/KgDr6Kp6Rqmm6vaG70q/tr63DtH5tvKHTcpwwyOMg8GvPPAvjvxx4uvZ7qw8JaTHoUGqz2ElzJqrCfbDIUZxH5eM8ZA3UAen0Vj2/inw1casukwa/pcuoO0irapdIZS0f+sG3Ocrg59MUuj+KPDes309hpOvaZf3dv/robe6SR4+3IByKANeisOXxj4Tj1K402TxNo6XtsVE9ubyMSRliAAy5yMkgfUitBNU02S4vbdL+2aaxCm7jEoLQAruG8fw5HPPagC5RWRfeJ/DljokOt3mvabb6ZOqtDdyXKLFIG5BVicHPtUj+INBTTrbUm1nT1srpgtvcG5QRysQSArZwTgH8jQBp0Vm6F4g0PXrKS90TWLDUraNikktrcLIiMOoJU8GqVp428H3cM81r4p0WeO3lSGZo72NhHI7bVViDwSxwPU0Ab9FVZtS0+HU4NMlvbdL64RpIbdpAJJFXG5lXqQMjJ96tUAFFFFABRRRQAUUUUAFFFFABRRRQAV4FNovi74heKviDqlha6E2jXkTeGbf8AtUTK/kxKfNeMKPutK7HPcoPSvfaAABwAKAPmNtUju/Afg7VfEuvyaD4y8MC803fe6W95aXMsWIpEkUL1dVQqwIY5OM1a8Y62E0/w347nSHw94vPh3YPD15o8lzaXsbPv+zphcxyFlGMHcAwyMV9I7F/ur1z070FVJGQDjpx0oA+ZvF51KL4rajrHirWovCNpq+hWK2IvNDXUIlHlnz7YORiNhISSv8WQe1XbnT9E8FyfCDVLy8uNT8O6dBfWkmpz6c+797HmEPHtLIMgqoI44r6MZVYYZQR7ilIDDBAI96AERlZFZfukZHHaloooAKKKKACiiigAooooAKKKKAOC/aHjkm+B/jGKKN5HbSpgqopLE47AVzWuaRc+C/g5fa3ZTa14mnOm24NhrE73tvGCU3P5OMnYCWwOSFxXsRAIwRkUUAfLnhiWXUPF3j+6t9ZGv283gV41vbbRTYQyOGk+RVAxIRnGeTzjtXV+E7C6uPEHge3WCRWf4cyQZZCArnyAAfQ+1e7hVAwFAGMdKAo44HHA4oA+WtI8QWV74F+E/g2C11M61ofiCxj1SBrCVRZmMuh8xiu0ZJGME5HNeheDPDaz6n8W9SsdNiTxBc6tPDZXkkeJARaR+VtYjgBmPI7k17HtXJ+UcnPSlAAzgAZ60AfLHwk0mwvJPAml6l42a11jRLmOU6MnhnyLqK4VGWRJJgMlTlsuThuDXrH7Q+l2+s6b4P0+8she2kviywFxCyFlZPnzuH931zxXp21dxbaMnqcc0EA4yM80AeIWHg/QJfjv8QWl8N2TQHw9ZrGGtB5eXWUPtGNuSFUHHPArkPCVxb6Tpnwi8ReOrO4m8O2nh65tRLNaPNHZ3paMRPIoBK/uldQxHH419P4Gc4GaQqpXaVG30xxQB8uapp32rwv4p8Rafot4fAV34x0/UDYpaOn2iyjCi6lWDAby2kAbGPmCk45rXBsPEnxN8Xaj8NtPkt/t/gWe2tL6Kza2iubsOQpQsBkrlRux274r6N7Y7UgVVxhQPoKAPmT4RabpOoax4Ghk8bFNS0Mhk0eLwz9kuIXERWSKaQDheuSeGIB5r6cpAqhiwUAnqcUtABRRRQAUUUUAFePeM/Dr+IP2jdPjbUdb0yKPwrIftGm3LQMW+1D5S4HI74r2GjAznAz60AfPfxf1CbS/Edz4Xn1CPS7aLQUFvqV5oh1S81hmMgaAORjK4GR1JfPSovhpb3n9qfBhpoLgNF4NvUkLo2UbZAAGz0PHQ19EEAkEgEjp7UBV4+UcdOOlAHzL4YlXw34S+DfizWIbqDStLn1GC+mFu7m2MwkWNnVQSFJGM47iqOrvH4l8G/GW9t7C+ax1PX9OaFZrV4nmixApYKQGwQDz6V9UbV27dox6Y4oKqc/KOevFAHgvx20RtE8XeB76wmg8O+GLBLqKW5j0hby3tbhkQRM8OMDKqyiQj5fbNdd+z5penWGi63eaX4mfX4dR1R7l5V042cKSFFDCKPGNpwCSOCc+9emkAjBAI9KAABgAAUAeH+FPEWnfC7x7450zxp9qsLfWdYbV9Mv/ALLJLDcxyRopTcinDqykbTz0xVb4l+NUv/E+iPF5Ph3Sr/SJJ4dY1Dw493cTt5m37IsbD5CR8+Dy2RgV7wyqw+ZQfqKCAcZAODkZoA+Z/CFwfDXw9+DHibW4b2HTdIur6K+l+yOWthLHNHGzoASi5wOnGRUkT6B4os/ivf6tPq+kaPf69p81tff2dIWQpBCY5miKktFuQE7hgg84r6UKqV2lQR6Yo2jngc9eOtAHy74p1HxN4q+GlrdNHB/ZejeLoDc6tp+jMYb60RM/ajaN99VdgGHIO3I4FeifAmx0ybxV4i8Raf42XxHLeW9tDcrb6P8AYbdShfY3A2u+CQSOQMZ7V6+AAMAAD0pFVVGFUAegFAC0UUUAFFFFABRRRQAVT10E6HfgAkm2kwB/umrlFAHylbL4m8F+BPAGv+FtMupr7xT4UtfDlwiIf9Hu/LBtrhx22hpAc+1dTZ6PL4H8Z+L7HR9BOsR6V8P7OG3tGiJS9kR59yHj5ixySOp3e9fQe1cAYGB0pcDOcDPrQB80/C7UJNW+M/hy+i1qDVV/4R+9WcWWgGwgs2PkkQbsfOQQflPK496b4N0ODUtK+BtpqulfabeG41OWSKeElUYK5QsCMdcEZ719LhVHRQPwoCrx8o46cdKAPm3x5oL/APCEfGvTtM0ljCmqW13BbQ25Iz5MDytGoHU4Ynb71J8TNRtNV8V+BvF+ka0uleE47G7gTUm0Q3VvbXRKffiYDYWUMocjsRnmvo/A54HPWk2rt27Rt9McUAfOD+F9Hn8BeHbKHUz4p0vU/H0N3Of7NNrAAwO9EixgR7hnj5SWNa/iGKTwz49+KV5ofhaHUE/4RmxnXThbfuLqQGZTlFGGwoGQOSBiveNq4AwMDpx0pcDOcDPrQB80fDi8k1L4vi8g1yLW4T4Ru45JrPQjYW8T+ZERCDj94Rz15X8TU/hbwzp2n/Bz4RX1nokdtqKa/YTSzJb7ZgZGcSFmxuwQcHPGMV9HhVHRQPwo2rgDaMDpxQB4H4Vv/CGi+KvGOh+PNFkuvEWo+JXuLYSaW9w15AxT7M0TBSNqAeo24J4ri9V0eObU/HHhrxh4z/4R+41TXbmYQSeG/tM9zAzg28kNwAWbCBAMfcK4r6w2rkNtGR0OKCqkhioJHQ46UAQ6fGYbC3haV5ikSqZHGGfA6n3NeBRX+o6D8NPiZf2+gxalJ/wmdwfKu7Rp4kjZoAZzGBmRUGXwOu2voSkwADwOaAPmPwnHpus+IPiH/a2vXesaHe+F4IbnUtO0NrION8obykUHzCoP3gD6dqi1nVtQ1b4MeOtBtZLTW7Cwh09LLXbHSmtTdEzpmNo8YZ4woJK/L83QHNfUIVV+6oH0FG1du3aNvpjigDyX4Ewv4f17xH4V8Q2jt4rNwb6fV3Qn+2bdziOYN0XaPkMY4XHAwa9bpMDO7Az60tABRRRQAUUUUAFFFFAHCftCRyTfA7xpFDG8kjaNchURSSTsPAA61w3xG1y40uTwVp8z2Oh2c2jF21260Y37RyKsYFqi4wrODnnrtwK90IBGCMikKqQAVBA9qAPlzw5a6bH8FvCF9q3iCfw/qGm61qU+mXV3ozSW5YzSqUmgxiMMjfKOCP4at+NYPGXj7R/AUmm2f9gazd6TquYIYmhikUbP3eThoVmUcHhlD19MFVIwVBHpilwM5wM0Acl8INU0XVfh/pr6FpLaLbWyG1fTWiMbWcsfyvER3IPfv17159+z34SaTT9R1ubWfElo6eJdRcWKXrR2rgXD4zFjBB/WvbgAM4AGaAAOgAoA+fvDvhW4ufhb8V59C0oJ4lv9a1lLecR7Z3O5lUIx5GVJAxxz71mfCTTtL1TxL4Okh8dh9S0W2kEWkweGvsUkWYdjxTuBwAecN1IBFfSgAHQAUgVQSQoBPU460AfH93d+Frb4NaR4XvtDnXxvYeI7d9QZ9NcSwzG/XfO8xXG11IAO47twH09I1rxBY+D/AIlfE211q31FZvEFjayaSsFlJN9sK2zRMiFQQWDdQcYBzXr3jPwzpvizRf7J1Qzrb/aILgmFwrF4ZFkTnB43KM+1bZAJBwMjoaAPlV7TUtP0T4R6tqGqNoOkWvhc2xvZ9I+3RWt2yx4Dxn/VlkDAOfQjvWyfCujS+BfCthBqR8U6VqPj+K7nZtNNtBhw5dVixgRbhn+6cmvpAqpXaVBHpjijauAMDA6cdKAPnf4i+HtR/t/4u6b4R02WCa98Mae8cNmnliZw0ocLjA3mNdvHPSt60tvhx8S/Aep+GPCemrbXp0RYfPTTHtzaspBjjZ2QfOsiqdvJGCa9rwM5wM+tNeMNG6KSm4H5l4IJ7/WgDxP9njUNR8eeINQ+IWsW0kEllYQ+H7eOUcrNF814w+suBn0Svbqw/AvhfS/Bvhm30DSPPa2hZ3Mk775ZXdy7u7YGWLMSeK3KACiiigAooooAKKKKACjvRRQAUUUUAFFFFABRRRQAUUUUAFFFFABRRRQAUUUUAFFFFABRRRQAUUUUAFFFFABRRRQAUUUUAFFFFABRRRQAUUUUAFFFFABRRRQAUUUUAFFFFABRRWN4k8R2Oi+XAyyXd/PkW1lAN0sp9cfwr6scAU0gbNS7uLe0t3uLqeKCFBl5JGCqo9yelSRusiB0YMrDKsDkEetcRFot5rNwmoeLGiuCpDQaah3W1ufU5/1r/wC0eB2FJHY6p4YkM3h1TeaZnMmku+NnPJgY/d/3Dwe2KwWJoufJza/gVyTS5rHc0Vm+H9c07XbM3GnzFtjbJYnXbJC/dXU8qfrWlW7TW5NwooopAFFFFABRRRQAUUUUAFFFFABRRRQAUUUUAFFFNkdY42kkYKigszE4AA70AOrNvPEGhWUhjvNa063cdVluUUj8Ca42e5vvGTNcSXFxZ+HiSLe3iYxyXq/89JGHIQ9lGMjk+lXrHRdHsYhFZ6XZQIOgWFf54yaUpwg7PcydR9Dc/wCEs8Lf9DJo/wD4Gx/40f8ACWeFv+hk0f8A8DY/8azPsdn/AM+lv/36X/Cj7HZ/8+lv/wB+l/wqfbQ7MXPI0/8AhLPC3/QyaP8A+Bsf+NH/AAlnhb/oZNH/APA2P/Gsz7HZ/wDPpb/9+l/wo+x2f/Ppb/8Afpf8KPbQ7MOeRp/8JZ4W/wChk0f/AMDY/wDGj/hLPC3/AEMmj/8AgbH/AI1mfY7P/n0t/wDv0v8AhR9js/8An0t/+/S/4Ue2h2Yc8jT/AOEs8Lf9DJo//gbH/jR/wlnhb/oZNH/8DY/8azPsdn/z6W//AH6X/Cj7HZ/8+lv/AN+l/wAKPbQ7MOeR0Gn6vpWoNtsNTsrs4ziGdXP6GrtcJqHh7RL/AAbjTLcSKcpLGvlyIfVXXBB/GpdB1bUNE1W30fWrp76xu28uxv5MeYknUQynuSM7W74weetxlGfw7jVTXU7aiiig1CiiigAooooAKKKKACiiigAooooAKKKKACiiigAooooAKKKKACiiigAooooAKKKKACiiigAooooAKKKKACiiigAooooAKKKKACiiigAooooAKKKKACiiigAooooAKKKKACiiigAooooAKKKKACiiigAooooAKKKKACiiigAooooAKKKKACiiigAoJwM1R1vVtP0Wwe+1K5S3hXgE8lmPRVA5Zj2A5rlJ49X8V5OprNpWiH7tirbbi6X1mYfcX/YHPqe1TOcaceabsgSbdkWtS8TXeqXEmm+E1jlKMUuNTkGbeA9wn/PV/YcDue1S6FolppRlmVpbm+uMG5vJzummI9T2HoowB6VoWtvBa28dtbQxwwxqFSNFCqo9ABUleTiMXKr7q0j/AFudVOio6vcKKKK5DYxtZ0Jbq7XVNOuX03V41CpdxDO9Qc7JF6OvseR2IqxofihmvU0fxDbppuqNkRENmC6A7xOe/wDsH5h79a0aq6rp9lqlk9lqFulxA/VWHQ9iD1BHqORXdh8a4LlnqvxX9djCpRvrHc6CiuJg1DV/Cnyag1xrGhjpcgb7q0Ho4HMiD+8PmHcHrXX2N5a31nFeWVxFcW8q7o5I2DKw9iK9SLUlzRd0c2qdmT0UUUwCiiigAooooAKKKKACiiigAooooAK5b4nsz+GBp6O0f9o3UNmzKcEI7jfj/gIYfjXU1ynxL/49NE/7DNv/ACaqi7O5E/hY9I0jjWONQiKAqqOgA6ClFLRXAZBRRRQAUUUUAFFFFABRRRQAVl+LLNb7w5fwY+cQtJE3dZE+ZGHuGANalQah/wAeFz/1xf8A9BNXTbU00J7G74av/wC1PD2nan3urWOY49WUE1oVznwv/wCSc+Hf+wdB/wCgCujrrluzoWwUUUUhhRRRQAUUUUAFFFFABRRRQAUUVHdXFvaW0lzdTRwQRKXkkkYKqKOpJPAFAElcZ4x8dR6dqDeH/Dtn/bniMpu+yo+2K1U9HuJOka+3LHsO9Yl94o1vxwzWvhCWXSfD5ysuutHia5GeVtUYcA/89WGP7oPWtbw5oWl+HtP+w6TaiGIsZJGLFpJnPV3c8ux7kmgDKsfGPiPwpJt+IAtr3S5SCNa0+ApHasx+5PFyVQZwJBkY+9jrXpNtNDcwR3FvNHNDIoZJI2DKwPQgjgiucZVZSrKGUjBBGQR6GuRi0nWvBc733ghFutMZi9z4fmk2x8nJa2c/6puvyH5D/s9aAPVaKw/B3irR/FVi9xpkzrNC3l3VpOhjuLaTukiHlT+h6gkVuUAFFFFABRRRQAUUUUAFFFFABRRRQAUUUUAFFFFABRRRQAUUUUAFFFFABRRRQAUUUUAFFFFABRRRQAUUUUAFFFFABRRRQAUUUUAFFFFABRRRQAUUUUAFFFFABRRRQAUUUy4mit4XmnkSKJAWd3bCqPUk0APrnfEXidLK6/srSrY6nrDLkW6NhIR/elfoi/qewrMuda1TxOTB4deTT9KyRJqjJiSYdxAp7f8ATQ8egPWtLRdKsNHtDbWMHlqzF5GJLPIx6s7HlifU1z18TCjpu/63/wAi4U3P0KGmaHJ/aA1jXboanqoz5blcQ2wPVYk/h/3jlj69q3KKK8epVlUlzSZ1xgoqyCiiioKCiiigAooooAK5+40a80q8k1TwtJHBLIS9xp8hxbXR9f8Apm/+0OPUGugorWjXnRd4sicFNakfhvxHZ60ZLfy5LPUYP+Piyn4ljPr/ALS+jDINbVctrui2mrCKSRpLe8gyba7gbbNCfVT6eoOQe4qGw8SXmkTx6d4s8tA7BLfVI12wTHsJB/yyf6/Kex7V7NCvCv8ADo+3+RyTg4b7HX0UAggEcg0VqSFFFFABRRRQAUUUUAFFFFABXKfEv/j00T/sM2/8mrq65T4l/wDHpon/AGGbf+TU0RU+FktFFFcJkFIzKqszsqqoyWY4AHqTS14h+1LLcalqXgLwNJqE1ho/iPWPJ1OSJ9hkjXbiMt2BJ/lTSuxpXPX5Nc0WPT59Rk1jT1srf/XXH2lPLj/3mzgfjV2GSOaFJoZFkjdQyOpyGB6EHuK8F+OPwy8F+B/gl401Dwto/wDZclxpsdvMkcrlHUTIQSpJ+b3rG8X/ABi8QaFfaN4M8M3Wj6U1l4ftbq6vdSs57kSu0SlYkSJWI4x8x4qlG+w7XPpaivANR+Lviq++GPhjxHa6l4Z8KX2omdLyPVreeV3eNto8iFFLsDySccZFZifHLxlc/A+z8WWdppL64vidNFmHlMLe4U5+ZVPKZ469PSjkYcrPpKisTwTH4oj8Owr4yuNMuNY3MZn09GSHaT8oAbnIGAT3rbqCQqvqP/IPuf8Ari//AKCasVX1H/kH3P8A1xf/ANBNVD4kJ7Fv4Yf8k58O/wDYOg/9AFdHXOfDD/knPh3/ALB0H/oAro67Z/EzojsgoooqRhRRRQAUUUUAFFFFABRRXD+L/Gl5HrE3hbwjYrf65GiNdTT5W009XGVaVurMRyI15Pcgc0AbXjLxZo/hW0il1KSSS4uG8u0srdPMuLp/7saDk+54A7kVxD6PrPjG6j1HxyqQ2CMHtfD0Um+FCDlXuGH+uf8A2fuD0J5q/wCGvDEGl3kur393Nq+vXC7bjUrkDeVznZGo4jjHZF/HJ5roKAEACgKoAAGAAMACloooAKKKKAOe8SeGItSvY9Z0y8l0bX4F2walbqCxXOfLlU8Sxn+634EHmrvhfx1KNTh8OeMrWLSNakJW2lRibTUMd4XPRvWNvmHbcOa1Kpa5pOm65pkumatZxXlpKPnjkGRnsR3BHYjkUAdnRXllvrevfD2Nv7Ylu9f8KRgn7aRvvdOT/pqOs0Y/vj5wOoPWvTrS4gu7SG6tpVlgmRZI3U5DKRkEfUUAS0UUUAFFFFABRRRQAUUUUAFFFFABRRRQAUUUUAFFFFABRRRQAUUUUAFFFFABRRRQAUUUUAFFFFABRRRQAUUUUAFFFFABRRRQAUUUUAFFFFABRRWR4l8T+HfDVq114g1zTtLhA3Frq4WPj2yeaANeivnnxx+138LdCEsWjNf+IrlMhRaw+XET/vvjj3ANeNav+1L8Y/HUzad8PfCa2JclQ1naveTjP+0RtB/4DQB9peLfE2keGLBbrVbkRmQ7YYgR5kzeij+Z6Dua43w/eWnxBabUL3VtP1CytJ/L/suxuVmghkGCPOdeJHxg4+6PfrXyvB+z7+0F8ULyHUPH2uNZR4JVtTvDI8YPULEmQv04r3H4G/DZfgONT03VNWub6w1WaNo9Q8sLbRuoIw45MbHOMklTgcis6/P7N+z3/H5Dhy83vbHtYAAAUAAcADtS0gIZQykEEZBHQilrwDvCsP4g6ldaP4D1/VrF1S7stNuLiBmUMFdIyykg8HkdK3KwfiJp93q3gDxDpdhF5t3d6ZcQQR5A3O0bBRk8Dk1ULcyuJ7GB8JvGE2qfBHRfGviu+gjkk037Xf3JURooGdzYHA4HaqvgT41+A/GWurouk3WoRXksD3FsLyyeBbqNRlmjLD5hjmvMPDPhv4pa18DZvg/rXgM6DCujtbw6w+qRSK8yMHRWjXJAYjaTk4Gah+FPw98cQeKtDutf8G6tZXehWM0Vnqd94nF3bxS+UVXy4AMhC2OM4Aro9lD3m3+KM+aWh6X4e+PHw/1zxJZ6DbSavb3F/IYrKW702SGK5cfwozDkntV5PjJ4Jf4ey+OBcXv9mRX39nvH9mP2gXG8J5fl9c5IP0rwvRPh/wDGrUvGHg6+8WaPqtw+j67HdX17c69HNA6Bj88NuMCMAemSfSuhm+EfjBvjlLYLYJ/wrqfxEniWWYSrzOsZPlbM5/1h9MVTpUr7/iJTkekeK/jr8PPDPiCfRNSvb9p7Uot7Lb2MksNmzYwsrqMKeeR2qz4u+M3gbw14gh0O6ub+9u5IIrhv7PsnuEhik+47svABBB+hrxPxX8KPH1j4v8Z29v4X1bxJoniO/ku0ax8TLYQlX6pPEQd2On0FanxJ+H/xCHiTTG+H/gyfSNRs7GztIPENrryohjRFDRXELD96FIIBxyAOvSj2VLTX8UHNI+nAQQCOhGRS1HaiZbaJbhleYIokZRgFscke2c1JXGbBUdzBDc28lvcQxzQyKVeN1DKwPYg9akqO5nhtreS4uZo4YY13PI7BVUepJ6U1e+gnbqYEEWr+FTu0lZtU0UH5tPZt09svrCx+8v8AsH8D2rlfG37Snwu8Iawmlarf6g9w0KzHyLNnCg5+VuhVgQcqRkV1UEur+Kzt0tp9K0U/ev2XbPcj0hU/dU/3z+A71j+J/wBn/wCE/iS/W/1jwstxdCMRmUXUqswGeWwwy2Sck8mvoKXtOT978X9b+f8ATOCXLze5t/WxyQ/a7+DR63+sD66c3+NPX9rj4MH/AJimqj66dJWi/wCy18E2/wCZUkX6X83/AMVUT/sqfBVv+Zcul+l/L/8AFVQFdf2tPguf+YzqQ+unSf4U9f2sPgqf+Y9fD66dL/hSN+yd8F2/5gd+v01CT/Gom/ZI+DDf8wrVB9NRegC0v7VnwUP/ADMl0Prp03/xNPX9qj4Jt/zNE4+unz//ABNZrfsh/Bo9LHWV+mot/hSL+yD8Gwcm01th6HUT/hQBsL+1F8E2/wCZtYfWxm/+JqVf2nPgo3/M4oPrZzf/ABFYEn7IHwdZSFt9cjPquoHj8xULfsd/CMnKtr49vtw/+JoA6pf2lvgo3/M7W4+ttN/8RVLVPjN8NPGmp6BofhnxVbahqMmrQukCxSKSqhiT8ygcCubl/Y2+FLfduvEMf0u1P80qKz/Zu8DfDfxT4e8VaFfazLew6pHGqXMyNHh1YHgKD+tNEz+Fnt1FFFcJiFcn8UPAOg/ETw8uj66s8fkyie1urd9k1tKOjo1dZXLfEL4geE/AVnBc+JtUW1Nw223gRGkmmPfai8n69KavfQaOOPwShuvDmtaTrfjzxTrcmq2a2X2i9nD/AGeIOr/InTJKjJPNWfFHwa0/VNT0/WNH8T674b1e00+PT5LzTpFBuoYwAokUjBIx1rofh18SvCfj6W8g8O3dy9zZBWuLe5tXglRWztO1hyDg9K7HB9DT5pId2eVa/wDBez1W08POvjPxNa6xoSSxw6us6vcypKcuHJGPpjoKgtvgToNv4HXwmmuarJbL4gXXfPl2vKZV/gJ7g9z1r0/XNV03QtLn1TWb6DT7G3AM1xcPsSME4GT25IFWbeSO4hjmhYSRyoHjZeQykZBHsRRzMLsfRQetFSSFQX+PsNxnp5L/APoJqeoNQ/5B9z/1xf8A9BNVH4kJ7Hx9pvhT9rSbT4Ljw/q2qrpEiBrFU1SFQsJ+4AC2Rxjipz4X/bNTpqmtH/uJwH+tfYfwu/5Jx4d/7BsH/oArpK7Z/Ezojsj4W/sL9tBP+Yhrp/7frc/1pP7M/bRT/l515v8At6tj/WvuqipGfCht/wBtJP49fP8A21tj/Wkz+2kn8HiA/jan+tfdlFAHwn9q/bSX/lj4gP8A2ztTS/2p+2gn/Lp4gP8A262x/pX3XRQB8KHxB+2dH10/xAf+4fAf6U3/AISz9sqPrpmvH/uEwn/2Wvu2igD4RPjr9sWPrpOun/uCRH/2SvSf2etV+J8nimXVfijDdWtzr2+yijubNbYmS2QSIwUAA5R5Bn/YxX1LXD/G2xaXwQ+tQRs13oFxHq0G37xEJzIo+sZkH40AaVFRWtxDd2sN3bOJIJ41kjYdGVhkH8jUtABRRWN401PVtI8O3F7oehya5qIKpBZJKI97McZZjwqjqT6CgDZory34U/EvX/EfjvXPBPizwxbaNq+lW6XBazvPtELIxGAT2bkfrXqVABRRRQByXxSzeaDbeGYZmiuPEN7FpqlfvCNjumI+kSvXqEEUcEEcEKBI41CIo6AAYArzjRUj1z4xuzR74fDOncMeguro9vcRJ/5Er0qgAooooAKKKKACiiigAooooAKKKKACiiigAooooAKKKKACiiigAooooAKKKKACiiigAooooAKKKKACiiigAooooAKKKKACiivIPH37SPwl8Hzy2lz4h/tO9jJV7bTYzMysDggtwoP1NAHr9Br4r8WftneINUuXsPh/4JVHfiKW8LTyk+ojTj9TXOp4b/at+L8bPqV3qmmaZMeVuphYQEHsI1wzD8DQB9feOfi38OfBcLt4g8W6bbyr/wAu8colmJ9NiZNeD+O/21fDNmGg8G+Gb7VZe0964t4vwUZY/pVDwP8AsT6fGEuPGvi6e6lzue306PYp9vMfJP5CvevA3wP+Fvg3ypNG8H6ebmMcXV0n2ibPrufOD9MUAfKEnxN/ag+LVwYvC2mX+l2L8A6da/Z4gPeaTk/gfwrV8M/se+OvEd62pfETxlFbSSHdII3a8uGPu7EKPzNfbyqqqFVQoHQAcCloA8P8Cfss/CTwyiPdaPLr90OTNqUu8Z9kXCj8jXsmkaVpmj2SWWk6faWFsgwsNtCsaD8FGKuUUAFMnijnheGaNJI3Uq6OMhgeoI70+igDirjQ9T8MsZ/Dqvf6V1fSmb54R3MDH/0WePQjpWjourWOsWn2qwm3qDtkRlKvE3dXU8qR6GukrnvEPhmO+u/7V0u4OmawoAFzGuVmA6JKnR1/UdjXPXwsK2uz/rf/ADLhUcPQt0Vh6Zrki366Pr1qNN1Uj5F3ZhufeJ/4v904YenetyvHqU5U5cslqdcZqSugoooqCgooooAKKKKACiiufn1i91a8k0zwrHHPJG2251CUZtrY9wP+ej/7I4HcitaNGdaVooidRQV2Tat4n0iwun09Lhb3VFZVGn2rCS4LMMjKA/KMc5bAA70un+GrzVriPUfFhjk2EPBpcbbreAg5DOf+Wr+5+Udh3r5M+N3wb+LHw18bXfxU8DeItS1tnkae7uYxi7iz94PGOJI+OwwB1HGa9N/Z8/ao0Hxibfw/458jQtfYiNLgnba3LfU/6tj6Hj0PavYoUI0Vdb9/8jknNzeux9KjgUUisGUMpBBGQR3pa2JCiiigAooooAKKKKACiiigArk/iX/x66J/2Gbf+TV1lcn8S/8Aj10T/sM2/wDJqaIn8LJqKKK4TIDXz54svLLRv2thqHimW1torjw55Xhy6v8A/j1iuR94EngHOc9+fcV9B1keKfDPh7xTp4sPEejWWq2ytuWO5iDhT6jPQ/Sqi7DTPnuX4ieMdW0H4s6Trd14abUNB0JZINU8Oh03F8nAkLZOPwwc1W1NE0P4ReFLzWvG3jrUNY8ZNbTBLfVUtgX8rPliVxthjwwyeSSBXvekfDrwLpGjX+j6X4V0u0sNRj8q9hihwJ0/uuepH41a1jwX4T1jw5a+HNU8P2F5pFoqLbWksW5IQowu3uMDiq5kVzI+RrybVdd+A/xP03U9d1m4tvDmp28likuqrdthjtaOSZRiVOc8YGQD2rovHN9e6Lo3w58F+HPFWtXuharby3V3cpr0cE8swVT5AumBVFXPC/hX0lpHgPwZpGmahpmmeGdMtLHUUCXlvHABHOoGAGXoeKrv8NvAMnhiPwzJ4S0p9HilM0do0AKJIerDuCfXNHOg5kcl+zLJ4oHhnWLLxHqa6jFa6iU0931OO+mjhKg+XLLHwWHvjrXrNZHhXwz4f8K6adN8N6PZ6VZlzI0VtHtVmIxuPqeOta9Q3dksKg1D/jwuf+uL/wDoJqeoNQ/48Ln/AK4v/wCgmnH4kS9iz8Lv+SceHf8AsGwf+gCukrm/hd/yTjw7/wBg2D/0AV0lds/iZ0R2QUUUVIwooooAKKKKACiiigApk8Uc8EkEyB45FKOp6EEYIp9FAHlvwtaa10G58OXQIuPD97Lppz/FEp3Qt+MTJXWVzusRSaN8YhIGAs/Eem9PS6tj/NonH/fuuioAK5T4tXul2XgLUf7b0fVtX0y4C211baZGzzmNzgsApBwO5BzXV0AkdOKAPmv9mbSprL4s+IbrwdouvaV4AnslyusQlZJLoEY2FvmIA3dSf5V9KUEk9STRQAU2WSOGJ5ZWCxopZ2PYAZJp1cp8U3mm8Lf2FaTGK7125i0uFh1USnEjD6Rhz+FAGx8E7e4k8ISeILyPZda/eS6kykcrG5AhX8IlSu5qGytobOygs7dAkMEaxxqOyqMAfkKmoAKKKKACiiigAooooAKKKKACiiigArG8UeILfQI7RprS8u5LufyIYrZAzltrN3IGMKa2a474j/8AIT8Lf9hNv/SeWtKUVKVmRNtRuh//AAm5/wChV8Q/9+Y//i6P+E3P/Qq+If8AvzH/APF0UV0+yh2MueXcP+E3P/Qq+If+/Mf/AMXR/wAJuf8AoVfEP/fmP/4uiij2UOwc8u4f8Juf+hV8Q/8AfmP/AOLo/wCE3P8A0KviH/vzH/8AF0UUeyh2Dnl3D/hNz/0KviH/AL8x/wDxdH/Cbn/oVfEP/fmP/wCLooo9lDsHPLuR3Pj+G1ga4uvDevwQJy8jQR4Qepw/SuyHIrzfxz/yKOp/9cD/ADFejr90fSsa0IxSaLpybbTFooorA1CiiigAooooAKKKKACsDxb4iGkLFZWMIvdYuwRa2oOB7yOf4Yx3P4Dmjxb4iGkLFZ2UIvdXu8i1tQcfV3P8MY7n8BzWVoWkmxaa9vLg3uq3ZDXV0wwW9EUfwovQL+J5pTmqauy6dN1HZbFJNB1iVfNvPGmvfaH+aQW0kccQY9QilCQvpyad/wAI9qH/AEOnif8A8CIv/jdb9Fcn1ur3/I6/q1LsYH/CPah/0Onif/wIi/8AjdeQN+yh8O7rXL/VdU1HXb17u4efy/OSNULHJHC88k+le/UVLxNR7saw9NbI8/8ACnwq0bwhamLwlqV/pDgfK8ccByR03ny9zD2JrvfCPiKTUJZNJ1aFLTWrZcyxKfkmTtLET1U/mp4NPrM1/SI9Uiikjme0v7ZvMtLuMfPC/wDVT0KngitqWJbdqn39jKphla8Nzs6K5zwj4ik1CWTSdWiS01q2XMsSn5Jk7SxE9UP5qeDXR10tWOVMKKKKQBRRRQAUUUUAFFFFAFLW9J0/WrBrHUrVLiFiGAbgqw6MpHKkdiOa5OZtX8J/LqLT6toi/dvQu64th6SqPvqP74GR3Heu5oPPWpnCNSPLNXQJtO6MS1uILq3jubWaOeGRdySRsGVh6gipax9S8M3el3MmpeE2jhZ2L3GmSHFvcEnkr/zzf3HB7jvUmh63aaqZYVSW1voOLizuF2zRH3HcejDIPrXk4jCSpe8tV/W51U6ylo9zUooorkNgqrquo2Wl2T3moXCW8C/xN3PYAdST2A5NUNZ1xba8XS9Ntm1LV5BlLWI4EY/vyt0Rfc8nsDVnQ/C7LeprHiC4XUdUXmIAYgtPaJD3/wBo/MfbpXdh8E5+9PRfi/67mFSslpHczrfT9Y8VYk1FbjR9EOCtqDsubsf9NCP9Wh/uj5j3I6V2FhZ2thZxWdlbxW9vEoWOKNQqqB2AFT0V6kUox5YqyObd3e4V88ftB/sv+GfHouNc8KiHQPEbAu2xcW123+2o+6x/vD8Qa+h6KYHwT8O/jP8AE/4B+IU8E/ErS72/0aJgqRztulhjHG63l6On+yTj0xX2l8PPHXhfx/oEet+FdWhv7ZwN6g4khb+66HlT9ab8RvAfhb4g6BJovirSob63IPluRiSFsfeR+qmvi34hfBz4ofs++IX8a/DfVb2/0WM5eWFcyRJ12XEQ4dP9oDH0oA++KK+ev2fP2nvDPxAEGieJ/I8P+I2wqq74trpv+mbH7rH+6fwJr6FoAKKKKACiiigAooooAK5P4l/8euif9hm3/k1dZXLfFBHXwx/aCRtJ/Z11DeMqjJKI434/4CWP4VUVd2IqfCx9FNjdJI1kjYOjgMrDoQehp1cBkFFFFABRRRQAUUUUAFFFFABUGof8eFz/ANcX/wDQTU9ZXiy8Fj4cvp/4zC0cS93kf5UUe5YgVdNNySQnsa/wu/5Jx4d/7BsH/oArpKz/AA1Yf2V4e07TeP8ARbWOE49VUCtCuyTu2dC2CiiipGFFFFABRRRQAUUUUAFFFFAHB/G+18vwlB4kiDfaPDl5HqalRyY0ysy/QxM/5CtSKSOaJJoWDxuoZGHQqRkH8q6O9toL2zms7qJZYJ42jlRhwysMEH6g15X4ct/iB4f0O10JvBa6munobeK7TWIkE0aEiNtrLkHbtyD3oA7Oiuc/tDx7/wBE5P8A4PIP/iaP7Q8e/wDROT/4PIP/AImgDo6K5z+0PHv/AETk/wDg8g/+Jo/tDx7/ANE5P/g8g/8AiaAOjrmrGNNc+MdrEQXg8Nae1y/90XNzlEH1Eauf+B07+0PHv/ROT/4PIP8A4mtn4XaLqmm2Oqalr1rFa6tq+oSXU0McokEUYASKPeOGwiL07k0AdhRRRQAUUUUAFFFFABRRRQAUUUUAFFFFABXHfEf/AJCfhb/sJt/6Ty12Ncd8R/8AkJ+Fv+wm3/pPLWtD418/yM6vwj6KKK6zEKKKKACiiigAooooAxfHP/Io6n/1wP8AMV6Ov3R9K848c/8AIo6n/wBcD/MV6Ov3R9KxxHwr5/oXS+Ji0UUVym4UUUUAFFFFABWD4t8RLpCxWdnCL3V7vItbUHGfV3P8MY7n8BzW9XnvhFVn1XxHqE37y7Orz23mtywijICID2UZPHvSlJQi5MqEeeSiXtB0k2LTXt7cfbdVu8G6umGN3oij+FF7L+PWtSiivOnNzd2ejGKirIKKKKgoKKKKACiiigDM1/SE1OKKSOZ7S/tm8y0u4x88L/1U9Cp4IrQ8I+In1CSTSdWiS01q1UGaJT8ky9pYieqn81PBp9YHjSNEj0vUEGy7ttTtVhmXhlV5kR1z6MpII712Yaq21Tlt08jkxFJWc1ud/RRRXScoUUUUAFFFFABRRRQAUUUUAFY3iXw5Y60I5maW0v4Afs17bnbLCfQHuvqpyDWzRTTA4dNavNFuU0/xYsUG47YNSjG22n9mz/qn/wBknB7GkjvdU8UO0Ph5mstMyVl1Z05f1Fup+9/vngdga63W2sI9IupdUjikskiZpllUMpUDJyDwa474R+NR4qj1C3nWOGa3mLQxKMYgJ+UY9un5VgsNRUufl1/Arnm1a51fh/RNO0Oza20+ErvbfNK7FpJn7u7Hlj7mtKiit229yUrBRRRSAKKKKAChgGBVgCD1BoooA+Zv2gv2VNB8XfaNf8B+RoWunLva422ty3XoP9Wx9Rx7d68r+Fvx/wDiB8G9eHgb4saXqF7p1uwjDTjN1bJ0DIx4lj9Ofoe1fdtcf8U/ht4R+JWhNpPinS47jaD5Fynyz27H+JH6j6dD3FAGp4J8W+HfGmgw654Z1W31GxlAw8Tcof7rDqrD0NblfAPjH4b/ABa/Zr8SP4r8Falcaj4e3/vJ4kLIUz9y5i6f8CHHoRX0V+z/APtJeE/iVHDpOqNHoXiUgA2kr/urg+sTnr/unn60Ae6UUUUAFFFFABTZEWSNo5FDIwKspGQQe1OooA87mtb7waTbvb3F74eBzbzwqZJbJT/BIo5aMdmGSBwRxmrtprmi3abrfVrGQe065H4E8V29ZeoeHPD+oyGS/wBD026c9WmtUcn8SKUoQm7vcydN9DE/tDT/APoIWf8A3/X/ABo/tDT/APoIWf8A3/X/ABrQ/wCEK8H/APQq6J/4Ax/4Uf8ACFeD/wDoVdE/8AY/8Kn2MO7FySM/+0NP/wCghZ/9/wBf8aP7Q0//AKCFn/3/AF/xrQ/4Qrwf/wBCron/AIAx/wCFH/CFeD/+hV0T/wAAY/8ACj2MO7DkkZ/9oaf/ANBCz/7/AK/40f2hp/8A0ELP/v8Ar/jWh/whXg//AKFXRP8AwBj/AMKP+EK8H/8AQq6J/wCAMf8AhR7GHdhySM/+0NP/AOghZ/8Af9f8aP7Q0/8A6CFn/wB/1/xrQ/4Qrwf/ANCron/gDH/hR/whXg//AKFXRP8AwBj/AMKPYw7sOSRhX/iPQ7MES6nbvJ/DFC3myMfQKuSTUug6RqOt6rb61rVq9lY2reZY2EmPMaTHE0voR/CvbOTzXU6bo+k6YP8AiW6XZWfY+RAqfyFXquMYw+Hcap66hRRRQahRRRQAUUUUAFFFFABRRRQAUUUUAFFFFABRRRQAUUUUAFFFFABRRRQAUUUUAFFFFABRRRQAUUUUAFFFFABXHfEf/kJ+Fv8AsJt/6Ty12Ncd8R/+Qn4W/wCwm3/pPLWtD418/wAjOr8I+iiqmtLcvo18lkSLpraQQkf39p2/riusyOB8TfHD4c+H9buNHutWubu7tTi6FhZyXC257h2UYFd3oGr6dr+i2mtaRdLd2F3GJYJlBAdT355H418vfC7xVceGfgKR4T1Hwpp/ibTbi7l8R2uuAi4nZSSAoyCzHGBnjtW/pHjm6uPGHwZ1rVNQttE03VdKvHu4IZPs9mZMHGVzt64xnuayU+5Tie3fETxfpfgXwy/iDWkuGtFmihIgTc26Rtq8E9MmmaL400nVvHWseDbVLn+0tJt4bi4LJiMpIAV2nPJ5Ga+YfF+uz6/8Kfibctq0upWaeN7ZbKQzmRFi8wYCdgv04rqta0fUtd+LXxfsNGvrux1P/hHrGa0mtpSjiWNUZRkc4OMH60e0dw5T6Zor55+CfjXVvin8StI1VLy7j07w94djXUoldljm1CUlTuXo2ApPtX0NWkXdXJasYnjshfB+qMxAUW5JJOABkV20fiDQWUbdb008drpD/WuA+KFq198OvEFiriNrmwlhDEZCllxn9a+dU/Yj8QBcj4g6fnHaxkH/ALNWWI+FfP8AQql8TPs5dY0lvu6pYt9Lhf8AGpV1Cwb7t9bH6Sr/AI18VP8AsU+Ll/1PxA00/W3lH9ajb9jHx4v+r8e6Wf8AgMwrlNz7dW4t2+7PE30cVIGU9GH518Mt+xz8S1/1fjjSj/20nH9KY37IPxYX/V+NdKP/AG9Tj/2WgD7qyPUUV8J/8Mk/GNP9X400z8L+4H/stH/DKvxxj/1fjWx/DVLgf+y0AfdlefeCv9Z4i/7D13/MV8rD9mP9oCP/AFfja3/DWJx/Svev2ZtB1zwz8ObjQ/El4LzVbTV7pLmYTGXe24c7jyazrP8AdP5GtD+Ij1Ciig9D9K849A8p8L/HTw74k8RR6PpPhzxVOHvjYm8XTibaOQNtJZwcADv7V1fw08c6f48stVutNs7q2XTdTm06QT7cu8eMsME8HNeJfsnab4+ntr6+0nxXp1p4aj8TXX2vTZNPEk02GG7Ev8ORj6YrhE1a+074W6rbLqV3pWiah8R57XWr21Yq8NscZG4fdB9fauh04vRHOqkt2fahB9KMH0NfItjqP/CJ+LvHth8G9evtY0G28JNeEi7a7jtrzcACjHPzbcn8/SqHhiXw7puq/C3V/h/4y1PV/FusX8K69btqDzGSNgDN5sZOECncPwz71PsfMftfI+p/iR4rs/A3gnUfFeoWtxdWtggd4oMb2BYLxnjvWzpd2moaZa38assdzCkyq3UBlBAP518NeOZvD2seBfiJrfivxbqUfjyPWpbW30171kBt1kG2MQ9GTGTnttFfbHg7/kUNF/7B9v8A+i1pTgopFQm5NmrWB46Yrpdjjvq1iP8AyYSt+uf8ef8AILsP+wvY/wDpQlVhv4sRV/4cj0Ciiiu44AooooAKKKKACiiigAooooAKKKKAK+o2drqFnJaXtulxbyD543GQ31rlPhtouhWsVxf6d4eu9Kn894/9LH7wrx05+4e1dk5whJOMDrXNfDe4t7nQZJrbW7zWIzcuPPukKOpGPlwewoA6aiiigAooooAKKKKACiiigAooooAbNHHNE8M0aSRupV0cZDA9QQeor5Y+P/7J+m61JN4k+GbRaPqwPmPpu7ZbzN1zGf8Alm3t936V9U0UAfDvwh/aT8ZfDXWB4H+MWnahPb2zeWbmZD9stR23Z/1qe/XHQmvs7wr4i0TxTokGteHtTttSsJxmOaB9w+h9D6g8iuY+L/wn8G/FHRjY+JNPH2lFItr+EBbi3P8Ast3H+ycivjfXvCfxi/Zd8Strnh68k1Lw1LJ88yIWtpl7LPH/AANj+L8jQB+gdFeN/AT9oTwf8UreKxMi6N4iCjzNOuJB+8PcxN/GPbqPSvZKACiiigAooooAKKKKACiiigAooooAKKKKACiiigAooooAKKKKACiiigAooooAKKKKACiiigAooooAKKKKACiiigAooooAKKKKACiiigAooooAKKKKACiiigAooooAK474j/8AIT8Lf9hNv/SeWuxrjviP/wAhPwt/2E2/9J5a1ofGvn+RnV+EfRRRXWYnJeIfhr4A8Qam2qa14Q0i+vmOXnltxvY+5HX8at634G8H63o9no+reGtMu9Psv+PW3kgGyH/dHauiopcqHdnMD4feCRpV1pK+F9MSwu547i4tlh2xySJjYxA7jAxWna6DpFjrV9r1jptrDq17EsVxchcNKqD5FY+gwK1KKLILnnnwM+Hcnw+0XVUvrmzutU1bUZL67ktIykS7j8qIDzgDP516HRRQlZWBu5i+Of8AkUdT/wCuB/mK9HX7o+leceOf+RR1P/rgf5ivR1+6PpWWI+GPz/Qql8TFooorlNwooooAKKKKACvPvBP+s8Rf9h67/wDQhXoNee2gfw34jvtO1JQtvq1/Ld2N3/A7yYJhb+64xx/eHTnipqpyptI0otKomzoqKKK8w9Ep6PpOl6Pbvb6Tp9rYwvK0zpbxhFZ26sQO59arw+HfD8OnXenRaJp6WV5I0t1bi3Xy5nbqzLjBJ9TWpRTuxWRm6DoGh6Bava6Ho9hpkDnc8drAsasfU4HNQaR4U8MaPqMupaT4d0qxvZs+ZPb2qI7Z68gZrZoouwsjEv8Awh4Uv7+5v77w3pFzd3UZiuJ5bRGeVD1ViRkitmGOOGJIYUWONFCoqjAUDgAU6ii7CyCuf8ef8guw/wCwvY/+lCV0Fc7q5fxBrFtoGmr5hs7y3u7+4/5Z24jcOE93bA+XsDk1vhYt1U+xjiGlTfmehUUUV2nCFFFFABRRRQAUUUUAFFFFABRRRQBn+ItXs9D0mXUdQlMNumAX2FgpPAyBzjNc78MfE1vrVlLatqNne30TM8htLZ4o1Qn5fvDrV3x3q2lQadLo93BNqF1fRMkdhbKHmkU8bsdFA/vEgVjfBDT9L03wvJHaXHm3zTE3qOu2WJuioynlcD8+cU+V2uK6vY76iiikMKKKKACiiigAooooAKKKKACiiigAqK8tre8tZbW7gjuLeVSkkUihldT1BB4IqWigD5G+Pf7JyS3Enin4TSf2ffxt5zaV5hRCw5zA/wDA2einj0IrC+Cv7UWv+ENSHgv4yWV6fszeT/aEkRFzbn0mT+Mf7Q5+tfa1ecfGr4M+DPipphi1yzFvqaLi31O3UCeL0BP8a/7J/DFAHc6DrGl69pMGraLqFvqFjcLuingcOjD6ir1fnzdWHxn/AGV/EpurSQ6l4Ynl5Zdz2VyM9HXrFJjvx9SK+sfgZ8dfBfxVskhsLkadripmfS7lgJAccmM9JF9xz6gUAeq0Vm6/rul6FAs2pXSxGQkRRgFpJT6Ig5Y/QVhp4yvLgb7TwlrLxn7rTNDCSPXaz5/OqUXa5LnFbnXUVyL+LNaBGzwbfN9b23H/ALPTf+Et1z/oS7z/AMD7f/4qjkfdfehe0idhRXH/APCW65/0Jd5/4H2//wAVR/wluuf9CXef+B9v/wDFU+R9196D2kTsKK4//hLdc/6Eu8/8D7f/AOKo/wCEt1z/AKEu8/8AA+3/APiqOR9196D2kTsKK4//AIS3XP8AoS7z/wAD7f8A+KpU8Wa0T83gy9A9r23P/s9Lkfdfeg9pE6+iuRbxv9lYHVfDms2UR6zLGk6J7t5bEge+K6XTNQstTso73T7qK6t5B8skTblNDi0rjUk9izRRRUlBRRRQAUUUUAFFFFABRRRQAUUUUAFFFFABRRRQAUUUUAFFFFABRRRQAUUUUAFFFFABRRRQAUUUUAFFFFABXHfEf/kJ+Fv+wm3/AKTy12NcR8VLq1srvwxcXlxDbQrqjbpJXCqP9Hl6k8VtQ+Nf10M6vwlmisj/AISfw1/0MOk/+Bif40f8JP4a/wChh0n/AMDE/wAa7OV9jC6Neisj/hJ/DX/Qw6T/AOBif40f8JP4a/6GHSf/AAMT/GjlfYLo16KyP+En8Nf9DDpP/gYn+NH/AAk/hr/oYdJ/8DE/xo5X2C6Neisj/hJ/DX/Qw6T/AOBif40f8JP4a/6GHSf/AAMT/GjlfYLoZ45/5FHU/wDrgf5ivR1+6PpXkvjHxF4fuPC+oQwa5pksrxbURLpCzEkYAGeTXrS/dH0rDEpqMb+f6GlJ6sWiiiuQ3CiiigAooooAKp6zpllq+nTafqECz28owynt6EHqCOoI6VcooTsBwNpPe+H9Si0LXZmmilO3TtRfgTjtFIe0o9f4hz1zW9WprOmWWsabNp+oQLNbyjDKeCPQg9iDyCOlcba3F7oGpRaFrkzTRSnbp2ovwJx2ik9JR+TDkc5FYV6KkuaPzR00a1vdkb1FFFcJ2BRRRQAUUVh6heX2qam/h/w/IEuFA+3X2MpZIew7NKR0Xt1PvpSpSqOyIqVFBXYaheX2q6k/h/w/IEnXH26+xuSyU9h2MpHRe3U+/W6BpFjoemR6fp8WyJMsxY5aRj952PUsTyTRoGkWOh6ZHp+nxFIkyWZjl5GP3nY9WYnkmr9eilGC5Y7HnSk5vmkFFFFAgooooAKKKKACiiigAooqjrerafoti17qVwsEIOBnlnY9FUDlmPYDmhK4XLxOASTgVyGoeJbzV7iTTvCQjdUbZcarIu6CH1EY/wCWr/T5R3Paqs0WreLDv1RZtK0U4KaerbZ7kf8ATZh91f8AYH4ntW/awQ2ttHb20McMMahUjRQqqPQAdK5K+MjT92Gr/Bf5/kaQpOWr0RQ0LRbPSVkeNpbi7nwbm8nbdNOf9pvT0AwB2FRazocd5dJqVjcPp2rRgCO8hAywH8Ei9HT2P4EVsUV5ir1FPnT1Ol04uPLbQzdD8USLex6P4kt00/U34hkU/wCj3fvGx6H/AGD831611Fc/qmn2ep2T2V/bx3ED9Ucd+xHoR2I5FZEF9q/hMBLw3OsaEuAJwN91aD/bA/1qD+8PmHfPWvWoYqFbTaX5+n+RyzpuHmjt6KgsLy1v7OK8sriK4t5V3RyRsGVh7Gp66CAooooAKKKKACiiigAooooAKKKKACiiigCtqmn2Oq6fPp+pWcF5ZzoUmgmQOjqexB4NfJfxb/ZY0zRPEdv408Ea9PoOmW9wJry1V2823Gf+XZhzkn5Qp6EjntX17XKfEw7tM0uBuUm1a2Vx2IDFv5qKcbX1Jk7JmP4a0maALqmsSNdazNGBJLIdxhXAxEmegHc/xHJNbtBorjlJyd2YpWCiiipAKKKKACiiigAooooAKwL7PhfUf+Ei09WSzdwNVtU+46E488Ds69SR1XOe1b9VNahW40e+gkAKyW0ikH0KmtaM3GS7Cfc7BWDKGUggjII70tYfw+uZLzwLoV1KSXksIWYnudgrcrpas7HQndBRRRSGFFFFABRRRQAUUUUAFFFFABRRRQAVDe3VtY2kt5eXEVtbQoXlllcKiKOpJPAFY3jTxdpPhW0je+aWe8uDts7C2XzLm6f+7Gnf3JwB3Irim0XWPF13HqXjry1tI332ugQvut4v7rTt/wAtpB6fcU9AetAHceEfFvh3xZbzT6BqkV4IH2SqAVdPQlWAIBHIOMEcjNblec+IvC9vqV3Dq2n3U2j65bKFt9RtQA4Uf8s5F6SR/wCw34YPNWvC/jq4i1KHw542todK1iT5ba6jJ+xagf8Apkx+6/rG3PpuoA7yiiigAooooAKKKKACiiigAooooAKKKKACiiigAqG7tbW7QR3VvDOgOQsqBgD64NTUUAUP7F0b/oE2H/gMn+FH9i6N/wBAmw/8Bk/wq/RTuxWRQ/sXRv8AoE2H/gMn+FH9i6N/0CbD/wABk/wq/RRdhZFD+xdG/wCgTYf+Ayf4Uf2Lo3/QJsP/AAGT/Cr9FF2FkUP7F0b/AKBNh/4DJ/hR/Yujf9Amw/8AAZP8Kv0UczCyKA0XR1YMuk2AIOQRbpx+lX6KKVx2CiiigAooooAKKKKACiiigAqnrOmWWsabNp+oQia3lGGU8EHsQexB5BHQ1cooTsBxsPhnxVbxiCHxZbSRJ8sbXGmb5NvbcwkG4474Gad/wj/i7/oaNN/8FB/+O12FFPTsvuQ7y7v7zyL4wr8SfDXw71XV/DmoQ6xqsUYFvbWujEuSWALf6w8AZPQ9K+adA/ax8aWOpjTvGmk29p5fyzPBYETK3vG7qP1Ffedcx42+H/grxpbtD4o8NabqeRgSSwjzV+jj5h+BqbRvey+5D55W3Z5V4B+KHh3x9CkGkfFXSLW6mG021zpX2a5XP93fKQT6EbhmvbPD+k2OiaXHYafHtiXLFidzSMers38THqTXy/8AEP8AYt8OXqyXXgbxBdaTPnKW17++h+gYfOP1rzc6T+1J8D5d9jJqWraPCOkLG/tSo9UPzJ+Qqr6WSJd3uz74or5A+H37aVoWWy+IHhaa0mVtr3WnHco9d0TnI/An6V9F+Afir8PvHUUZ8M+KdPvJnAP2ZpPLnHsY2w2fwpAdpRRRQAUUUUAFFFFABRTLiaK3heaeRIokUs7uwCqB1JJ6VxtzrWqeJnNv4dd7DSuRJqrJ88w9LdT2/wBs8egPWk2ormk7IOtkafiHxPHZ3f8AZOlW51PWGGRbo2EhB6NK/RF/U9hWfpehyfbl1jXLoalq2PkcriK2HdYU/h/3vvHuavaNpVjo9p9msYdik7pHYlnlbuzseWY+pq9Xl4jGOfuw0X4s6adG2stwooorhNwooooAKBRRQBz9xo15pd5JqnhaSO3mkbdcWEhxbXJzycD/AFb/AO0OvcGtzw54js9ZMlv5ctnqMA/0iyuBiWP39GX0YZBqSszXdFtNWEckjS215Bzb3kDbZoT7HuPVTkHuK9HD45r3auq79f8AgnNUodYHU0Vx+n+JLzSbiPT/ABb5cYdtlvqka7beY9lcf8snPoflPY9q7AcjNel0utjnuFFFFAwooooAKKKKACiiigAooooAK5T4lf8AHpov/YYt/wD2aurrlPiV/wAemi/9hi3/APZqaIn8LJaKKK4TIKKK4H41fEN/AWj6emnaW2r69rF2LPS7ENtEkh6lj2UZH500rgjvqK8T8VeNPjD4T+HfifWvFGheHLa4sbFLixu7GZpYvMMiqYpEY5yAxORxxXaX/wATfCHhvw9od54y8RWGlXWpWUVwsb7iWLKCSFUEhcnr0p8rHZncUVyPiD4meAdA0bT9Z1fxVp9tp+pKWsp9zOs4HUrtBJxkU9/iP4FTwra+KW8T2A0S6uBaw3uW8tpTnCHjKng9cY70rMLM6uisrwr4i0TxVo0es+HtRh1HT5HZEuIgdrMpww5APBFatIQVBqH/AB4XP/XF/wD0E1PUGof8eFz/ANcX/wDQTVQ+JCexa+GH/JOfDv8A2DoP/QBXR1znww/5Jz4d/wCwdB/6AK6Ou2fxM3jsgoooqSgooooAKKKKACiiigAooqnreq6bommT6nq17BZWcC7pJpnCqo/x9upoAuVwXiTx1cXWoz+HfA9vDqeqRHZdXspP2LTz3EjD78npGvPqVrJvdQ8RePyY4De+G/CrcFuYr/UFz27wREd/vkH+Gui0jTdP0jTotO0uzhs7SEYjhiXao/xPqepoAy/DXhi20m6m1S7up9W1y5GLnU7rBlcf3EA4jjHZF4+p5rfoooAKp6zpen6zpsum6rZw3lpKPnilXIOOh9iOoI5FXKKAOTsdU8QeAAI75rzxF4VQACfBlv8AT1/2wOZ4gO4+cDqG616Po+p6frGmwalpV5Be2c67opoXDKw9iKxK5S78Paloeoza54FnhsrqVt93pcxIsr455JA/1Uh/56KOf4gaAPUaK5nwX4003xK01kYptN1m1H+l6Xd4WeHnG4dnQ9nXIP6V01ABRRRQAUUUUAFFFFABRRRQAUUUUAFFFFABRRRQAUUUUAFFFFABRRRQAUUUUAFFFFABRRRQAUUUUAFFFFABRRRQAUUUUAFFFFABRRRQBwnxA+EHw58dRSDxF4VsJrhwf9KhTyZwfXemCfxzXzr4+/YuMM39ofDvxZJbyodyW2o5yp7bZUGR+I/GvsWigD4HTxT+1D8EXaPWbbUNU0iHgtdx/brbaO4lX5lH1I+len/Dz9s/wnqIitvGuh3miXB4e4tf38GfXH3wPwNfVDKrKVZQykYIIyDXl/xE+APws8cK8mpeGYLO8bJ+16f/AKPLn1O3hvxBoA6/wb448IeMrX7R4X8Rabqq4yVt5wXUf7S/eH4iuir4o8Y/sdeKtCvzqvw08YeY8Z3RRXLm2uEPoJU4P4hawLX4x/tHfB51s/G2j3Wo2EbYDarblwR6LcJ1/EmgD72rK8R6/p+h26Pdu7zynbb20K75p2/uoo5P16Dua8W+GP7RsPxF0SZ9L8NXGkXkMkcE93eyB7G3dwcFpFwT0OFIGfWvUdE0OGxuJNQuLiTUNUnH729mwWI/uoBwieij9ayr1o0Ypy67DhFzdkVDpmpeIplu/FG2O0Vt0GkRtujX0Mx/5aN7fdHv1roQAoCqAABgAdqWivGrVp1XeR2QgoLQKKKKyLCiivEP2soPFkml+HrjS4dduvDMF4z+ILfRJTHePFgbSpHO0fNnHtmrpw55ctxSdlc9uYhfvEL9TigMpJAYEjqAelfLGs6v4Ab4LeHJvDd7rfiXTW8YWqeXqmoSLc2UzH7jEc4GMhTwc9ap+Jde8VeH7z4/ar4VkEd3bahamS4MxR7aLYd0kfqwOBj3NbLDt9f6uR7Q+tKK4f4Hap4t1n4b6XqPjK0tIL+aCNont5/N8+IxqVlc9nbJyK7iueSs7Fp3QUUUUhkd1BBdW8ltcwxzQyKVeORQysD2IPWsCGPV/Ch3aYs2q6KDlrFm3XFsP+mLH76j+4efQ9q6Oit6GInRem3YznSU/Us6Lq2n6zYre6bdJcQklSRwUYdVYHlWHcHmrtcXreki2nm1/Sb6LSNQRC00z/8AHvOo7TL0I/2uGHr2r5/+L37WHiDwV4rj0e08G2E8RtY5jJcTyDzC2fmQgcxnGQcDNezSqRqx54HG04vlkfWlFfDqftv+JP4/Amkn6Xkg/pU6ftwa1/H4B08/S/f/AOJqwPtuivipP24dQ/j+H9qfpqLf/EVMn7cUv8fw8Q/TU/8A7XQB9n0V8bp+3HF/H8OXP01Uf/GqlX9uOx/i+HFx+Grr/wDGqAPsOivj9f24tM/i+Hd4Ppqq/wDxupF/bh0X+L4fagPpqSH/ANkoA+vK5T4lf8emif8AYZt/5NXzkv7cHh/+LwDqg+l9Gf8A2Wrvh79p7RPif4x8OeErPwtqGnTz6nHKJpbhHUBFYkYAzTRM/hZ9C0UUVwmIV5F+0d4c8TXk3hLxn4T07+1dQ8Lan9rewBw88TY3bfUjb0969do6GmnZjTseB/E3xT4m+I3wi8XaVZfDbxJpSf2ehja+jAknm81P3ccY5bAyc+1cZ498JeK9K8e6f4kl0rxPc6beeGrSxD6NZ29zNbSJGFeJ0mRgoJycjHXr1r6vyc9aKpTt0HzHy1faX4t8LeAfA2meH/DPidNFH2tr1v7OtrrVbVnfKJh1KRq3XgdPpWJYeB/FTfAJdFvfDGqm6fx/HcyWk9uDIbc/edlUbdvPJA2+nFfYGTS8+9HOPmILS1tbO3W3s7eG2gT7scSBFH0A4qaiioICoL/mxuB/0xf/ANBNT1BqP/IPuf8Ari//AKCaqPxIT2Pmvw9+2L4b8OaJZ+H5vBurTyadCtq8qXUYDlBtJAI6HFaA/be8Kd/BGtD/ALeYq9h+H3w0+Ht/4E0O8vfBegz3E1hFJLLJZIWdioJJOOSTW03wj+GDfe8B+Hj/ANuKf4V2z+JnRHZHgy/tu+EP4vBeuD/tvF/jUi/tt+Cz97wfro/7axf417i3wd+FjdfAPh7/AMAk/wAKjb4L/CdvvfD/AMP/APgGtSM8WX9tjwN/F4U18f8AAov8aev7a3gLv4Y8QD/v1/8AFV7E3wR+Ebdfh74f/wDAQVGfgX8Hz1+Hfh//AMBhQB5Kv7anw9/i8O+IR/wGP/4qnr+2l8OT10HxCP8AtnH/APFV6qfgR8Hj/wA070H/AMB//r0xvgH8G26/D3RPwjI/rQB5iv7aHw176N4iH/bGP/4upF/bO+GB+9pfiIf9u8f/AMXXor/s9/Blv+af6UPpvH/s1Qv+zp8F2/5kPTx9HkH/ALNQBwi/tl/Cs9bDxEP+3VP/AIupPht8QvC/xm+JGqahGupXVlpsEMukWt/GEhiccTOIwSGkDFDuOSAwxiuxf9mz4Kt/zI9qPpPKP/Zqq6z4B8M/C2LQNX8G6OmnWMGreVqKK7NmK6CwliWJOFcRH04NAHoFFFFABRRTJpYoYXmmkSKJFLO7sFVQOpJPQUAPorK8NeI9B8S2k154f1a01S3hlMMkttIHVXABK5HfkVq0AFFFFAHFfGK0tF8JXGtpHMmt2KgaTdWrbLiO4dgsaqw6hmIBU5BGcivU9NS6j062jvpVmulhQTyKuA7gDcQO2TmvOdehl1r4heFtAjYfZrWSTWb4eqw/LCv4yuD/AMAr06gAooooAKKKKACiiigAooooAKKKKACiiigAooooAKKKKACiiigAooooAKKKKACiiigAooooAKKKKACiiigAooooAKKKKACiiigAooooAKKKKACiiigAqK7t7e7t3t7qCKeFxh45UDKw9CDwalooAw9B8H+FtAtL600Xw/p1hbahIZbuGCBVSZiMZZenQVjXOj6p4XJn0FJdS0gEs+mM2ZYB6wMeo/6Zn8D2rtaKUoxkuWSug2d0c5o+qWOr2f2rT5xLGGKuMENGw6qynlWHoau1S8QeGFurw6vo1wNM1gDBmVcx3A7LMn8Y9+o7GqOla4z3w0jWbX+zNWx8sLNmO4A6tC/8Y9uo7ivKxGDdP3oar8V/Xc6ada+ktzboooriNwriviT4d8bavdafqHgnxuPDl1aq6Swz2YuLe5VsYLKejLjgj1rtaKcZOLuJq54QP2fpI/BkWlL4nFxq0/iWHX9Tvprbas8iE5REU/KOeK3Z/g6bx/ifHe60ot/HBQx+VCd9ptXAzk4bnB7cV61RWnt59yeRHI/CTw74i8KeC7XQvEniCDW7i0AignhtfJVIVUKiY7kAdT6111FFZt3dykrBRRRSGFZuu61Z6QkazeZNdTkrbWkC7pp29FX+ZPA7mqN1rV3qV5LpXheGO7uYyVuL2TP2a0PoSPvv/sD8SK2/Dfhuz0eSS7eSS+1Ocfv76fBkf/ZHZF9FHFejh8C371XRduv/AADnqV+kTLsPDd7rE8eoeLPLMaNvt9KjbdDH6GU/8tX/APHR2B610lzpmm3Lh7nT7SZwAu6SFWOPTkVbor0lZJJbHOZraBoLfe0XTT9bVP8ACmHw14cb72gaUfrZx/4Vq0UAY7eFfC7fe8N6OfrYx/8AxNRt4O8It97wtoh+thF/8TW5RQBz7eCPBjfe8JaCfrp8X/xNRnwD4Gbr4N8Pn/uHRf8AxNdJRQBzDfDvwC33vBfh4/8AcOi/+JqNvhr8PW+94H8On/uHRf8AxNdXRQByDfC/4cN97wL4cP8A3Dov8K5/xd4D8FaDPoWpaL4U0bTr1dXgVZ7azSNwCGyAQM816fXJ/Ev/AI9NE/7DNv8AyamtyZ/CyavNf2jvGmreCfh19r0Dy11jUL2HT7OSRcrE8h5fHsBx716VXFfGnwHH8RfAs/h/7abC7WZLmyugu7yZkOVJHp1Brija+pktzjpPAvjHwj4Y1rWbr4n67rX/ABI7w31reAFDN5LFXhI5j2t+lc38B/jFcW/hnwH4c8Q+G9eSLVl+xW2vXThormcE8DJ3EdBuNddp/h341appl9pXi7xD4XNjJpdxaBbK3fzLqR4iiPIzD5QCQTt61Qg+E3iCPwh8KtIN5p5n8Iaglzfne22RRniPjk898VenUq6L/jL4z3nhPWZU1j4d+IINCivVs21dnjEZLNtDhM5Kk9KTxl8bDofjDXPDGm+Btb1+60e2ju5pLNl2CFk3M7E/dwMcc5rzrxd+z7471jVtYZtS8M38d3qv2+HUr1Zjfqm8MIQ3KooHYV6nY/D3WIPiL478RNdWn2XxDosNhaoGO9JEj2kvxgDPpmi0QtExvD37QOm6vq3hxW8H6/Y6L4huBaWWrXKqInuD1QAEkgHjd+NcV4b+Kus+DfF3xRlufDXiLxLp1lrrSTTwSgw6fAMjHzHj/dHpXVW/wf8AEUfw8+GXh1r3TvtPhXWUvr1t7bJEDMSE45PPfFZ2s/Cf4ppd+O7fw74g8O22leMdQkkuUuInaWGFuNysBjcQWBH60/dDQ63xJ8bNNtrnSLHwr4d1PxXf6npq6otvZsqeTbN0Zy3frx7VT1H4/aLF4Z8K65p3h3VtT/4SOee1htINvnxXEWAYyvcliBkH3rm/GH7P97Hqehal4VXw7qh0/RotKuLTxBAzxSeX92VSvIbrW5a/CfXI3+G8oTw7Yt4b1O4vdQg06JoYGEmMCJcHJ45zilaIWieteGr+71TQbPUL/SrjSbqeIPLZTsDJA391iOCas6j/AMg+5/64v/6CanFQaj/yD7n/AK4v/wCgmph8SM3sWvhd/wAk48O/9g2D/wBAFdJXN/C7/knHh3/sGwf+gCukrtn8TOiOyCiiipGFFFFABRRRQAUUUUAFY/jXRI/EnhHVdCkbaL61eFX/ALjEfK31BwfwrYooA888A6tJrXg7TNQuCPtRh8q6A/hnjJSQf99q1btcr4fjj0P4h+KPDSgpFcSJrVop6bZsrKB9JUJP++K6qgAqlrmj6Zr+mS6RrFnHe2NwVE0EmdsgDAgHHUZA471drL8V6FZ+JfD93oeoS3cVtdKFke1mMUoAIPyuOR0oA8h/Y6hit/CvjCCCNIoo/FV2iIgwFACgADsK9yrz34a/B/wh8PdZm1Xw7JrCzTRvHIlzftLG24glip43fKOetehUAFFFYvjnWf8AhH/CGqawqGSW3t2MEY6ySn5Y1HuWKigBnwphTVPEfinxdv8AMSe7XS7M9hBbZDEfWVpP++RXodYXw/0NfDfgvSdEUfPa2yrKf70pGXb8WLH8a3aACiiigAooooAKKKKACiiigAooooAKKKKACiiigAooooAKKKKACiiigAooooAKKKKACiiigAooooAKKKKACiiigAooooAKKKKACiiigAooooAKKKKACiiigAooooAKoa7o+na3Ymz1K3WaPO5Gzh427MrDlWHqKv0U07A1c4aWfVvCreXrLS6lo2cJqSpmW3HpOo6j/poB9QOtdBBLFPAk8EiSxSKGR0YFWB6EEda2GAZSrAEHgg965C+8N3uizSX/AIT2eU7b7jSZG2wyepiP/LJ/b7p9B1rir4ONT3oaP8P+B+RpCq46PVG1RWboWtWerxyCDzIbmAhbm1mXZNA3oy/yPQ9jWlXlSjKD5ZKzOtNNXQUUUVIwoorI1rXYrG5j0+1t5NR1WYZisoCN2P77noif7R/DNXTpyqS5Yq7JlJRV2X9SvrPTbKS8v7mO3t4x80jnAHt7n2rGgtNX8WfNcLc6NoR/5Z/cu7se/eJD6fePtV7RvDE0l7FrHiaeO/1BOYIEB+zWn+4p+83+2efTFdTXr0MLCjq9ZfgvT/M5J1JT8kV9NsbPTbKKysLaK2tohhI41woFWKKK6SAooooAKKKKACiiigAooooAKKKKACuT+Jf/AB6aJ/2Gbf8Ak1dZXKfE/EejWF452xWuqW0sjHoq79pJ9vmpx3In8LJaKO9FcJkFFFFABRRRQAUUUUAFFFFABVfUf+Qfc/8AXF//AEE1Yqjr9wlroV/cyHCxW0jH8FNVD4kJ7Gh8Lv8AknHh3/sGwf8AoArpKxfAlnJp/gvRbGUESQWMKMD2IQZrartl8TOiOyCiiipGFFFFABRRRQAUUUUAFFFFAHnvxVRtL8R+FvFSRjy4rttLvW9IbnAVj7CVY/8Avo1uVZ+IGht4l8FatoccgimurZlgk/55yjmNvwYKfwrnPBWtDXPCemarKyJPcW6mdNw+SUfLIv4MGFAG1RTfMj/56J/30KPMj/56J/30KAHUU3zI/wDnon/fQo8yP/non/fQoAdXLeKI5NY8a+FfDUY3Qm6bVb3uPKt8FAfrK0f/AHya6fzI/wDnon/fQrE+GUS6t4z8U+KfMEkSSpo9kR0CQfNKR9ZXYf8AAKAPQ6KKKACiiigAooooAKKKKACiiigAooooAKKKKACiiigAooooAKKKKACiiigAooooAKKKKACiiigAooooAKKKKACiiigAooooAKKKKACiiigAooooAKKKKACiiigAooooAKKKKACiiigDD8SeG7TWJI7yOWSw1OAfuL6DiRf9luzp6qePpWNaa1d6fex6T4ohjtLqQhbe7jz9muz6KT9x/wDYb8Ca7Wq+pWNnqVlJZX9tFc28ow8ci5BrOrShVVp/eOMnB3iUaRiFUsxAAGST0Arnri11rwmC1ul3rmiDAES/PeWo9s/61Pr8w96fbaJqfiZluPEaPY6Xw0elK/zy+9ww6/7g49c1wRy+fNZvTv8A8A3eIVttRi6lqXiOZrXwwRFZg7ZtXkTMY55WFT/rG/2vuj36V0nhzQdP0K2aKzR3llO6e5mbfNO3952PJ/kO1aMMUUMKQwxpHGgCoiLhVA6AAdKfXowhGnHlgtDnbcneQUUUVQBRRRQAUUUUAFFFFABRRRQAUUUUAFFFFABVTWNPtdW0u5029jElvcxmORfY/wBat0U07aged6bqE+k3SeH/ABFIIr1Pktbp+I75B0ZT034+8vXPI4rerd1LT7HUrRrTULSC6gbrHKgZT+Brmn+H2iBj9ku9bsU/5522pzKg+g3HFRKlCTvexi4SWxY5o5qt/wAK/wBP/wCg74m/8G0v+NH/AAr/AE//AKD3if8A8G0v+NT7CP8AN+AuWXYs80c1W/4V/p//AEHvE/8A4Npf8aP+Ff6f/wBB7xP/AODaX/Gj2Ef5vwDll2LPNHNVv+Ff6f8A9B7xP/4Npf8AGj/hX+n/APQe8T/+DaX/ABo9hH+b8A5ZdizzRzVb/hX+n/8AQe8T/wDg2l/xo/4V/p//AEHvE/8A4Npf8aPYR/m/AOWXYsOyohd2CqBkknAArBgU+NL+K0swW0CCUSXl2OEumU5EMf8AeXIBZunGOcmtq28AeHkkEl4t/qhHRb+9knT/AL5Y7T+IrqYY44YlihjSONRhVUYCj0A7VcIRg7p3Y1Tb3HUUUUzYKKKKACiiigAooooAKKKKACiiigArlrr4c+A7q5lubjwfoks0zmSR2s0JdicknjqTXU0UAcl/wrP4e/8AQl6F/wCASf4Uf8Kz+Hv/AEJehf8AgEn+FdbRQByX/Cs/h7/0Jehf+ASf4Uf8Kz+Hv/Ql6F/4BJ/hXW0UAcl/wrP4e/8AQl6F/wCASf4V0OjaXpui6dHp2k2NtY2cWfLgt4wiLk5OAOOSSa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B//Z">
            <a:extLst>
              <a:ext uri="{FF2B5EF4-FFF2-40B4-BE49-F238E27FC236}">
                <a16:creationId xmlns:a16="http://schemas.microsoft.com/office/drawing/2014/main" id="{E0A3E4E5-9F64-409E-8379-0E70B0AC031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" name="AutoShape 8" descr="data:image/jpg;base64,%20/9j/4AAQSkZJRgABAQEAYABgAAD/2wBDAAUDBAQEAwUEBAQFBQUGBwwIBwcHBw8LCwkMEQ8SEhEPERETFhwXExQaFRERGCEYGh0dHx8fExciJCIeJBweHx7/2wBDAQUFBQcGBw4ICA4eFBEUHh4eHh4eHh4eHh4eHh4eHh4eHh4eHh4eHh4eHh4eHh4eHh4eHh4eHh4eHh4eHh4eHh7/wAARCAFKA0Q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82+MXxUh+HuqaLZf2RLqQvH86/dJNosbMOkbTtxzhpFGPrzQB6TRWbruv6HoVil9rWr2OnWrkKkt1OsasT0AJPNV9U8XeFtLs7S81LxFpVpbXoBtZZrtEWYHuhJ+YfSgDaorJ13xN4c0FYG1rXdN00XB/c/arlI/M/3dx5rB8WfFDwd4X8U6N4e1jVra3n1aKSaKVpkWKJFXIZyWGA3RSAckGgDtKKRSGUMpBBGQR3paACiiigAooooAKKKKACiiigAorn/AIj+Iz4Q8B614nFp9rOmWj3Ag37fM2jpnnFZfgzxB4vvLc6l4u0PRNE0o2q3CXEOqGUjIBwwZFCjB65oA7SiueTxdoup+H9T1LwzrGkau1jC7ny75PKVwpIEjjOwcdT0HNY+meN7ufxfoWh3drYRxaj4ffVp54bnzUjZWjG1H6MmHJ3ewoA7mis4a9opsbG+GrWJtb90js5vPXZcO33VQ5wxPYDrULeJ/Da6tHpDa9pg1GSVoUtTdJ5rSKASoXOcgEHHvQBr0VkWHijw3f6zNo1jr+mXOpQ5821iukaVMdcqDnirup6lp2lxRy6lfW1nHJIIkeeUIGc5IUE9+Dx7UAWqK5z/AITzwT/Zf9qf8JdoX2HzvI+0fb4/L8z+5uzjPtWlrOvaJo2mDU9X1ewsLE4xcXFwscZz0wxODmgDRorOt9d0W40Q65b6vYS6WELm8S4UwhR1O/OMfjXL6F8Q7HXfiWPDei3Gnajph0X+0Rf2twJMuJvLKfLxjHPrQB3NFZGl+KPDeq6pPpema/pl7fW+fOt4LpHkTHXKg5rXoAKKKKACiiigAoorz7xp408T2PxDtPBvhbw7p+qXU2ltqUkt5fm3VEEvl7RhGyc0Aeg0Vzcni3TdF02xPjTVNF0HUrhAXt5L9dobPRWbaWHvgVJqWvXNv4r0rS7dNNls720nuGke9Cz/ACBSvlxYzIp3csDxx60AdBRXHfDLxvB4o8G6Dq+pNZ6ff6wsxgtBNy5jdgwQHlsBcn0rem8QaFCt60usWEa2EqxXha4UC3dsbVfn5SdwwD6igDTorDPjDwmNJn1c+JNI/s+CYwS3X2xPKSQdULZxu9utaelajYarYRX+mXtve2kozHNBIHRh7EcGgCzRXnWreP8AXb3xdqXhvwJ4Xh12XR9q6pd3V8LWCGVl3CFTtYu+0gnjAyMmuh/4TDTdM0Gxv/GNxY+F7q5X57W+vYwUfPKhs4b6j1oA6SiqQ1bSy9ig1G0LagCbMCZT9owu47OfmwvPHamSa5o0a6g0mrWSLppAvi06gWxKhh5nPy8EHnsaANCisiw8T+G7/RZdbs9e0240yIkSXcdyhhQjrls4FT6Drmja/ZG90PVbLUrYMVMtrOsihvQlT1oA0KKKKACiiigAooooAKKKhv5/stjcXW3d5MTSbc9cDOKAJqK88+BPxLHxL8Ly6lc6V/Y9/A0ZlszN5mIpY1kikBwMhkb06gjtVT4b/FmDxp8QPE3h6HSvsunaPGJbfUXmBW7QSPG7hcfKoeN8HPOKAPTqKxtF8U+HNdluYdD17S9Tnth+9jtrpJCn+9tJwPes/QPGNjJ4X0/VfEmoaHpc94krqsepJLCwQnJSQ4DYABOOlAHU0VxnjH4neDvDPgSTxnNq9rfaUHEcT2c8cnnuWxtQ7gCRySM9Aa1v+Ey8Jjw/H4gbxHpSaVI21LxrtBEzdMBs4Jz2oA3aKzT4g0IabbakdZ08WV0wW3uPtCeXKSCQFbOCcA/kabo3iTw/rVhNqGka3p1/aQErNPb3KOkZHUMQcD8aANSisfQ/FPhrXRc/2Lr+maj9l/1/2a6STyv97B4pmneL/Cmo6lDpun+JNIur2aITRW8N5G8joRncFByRigDborJvfE/hyx1qHRLzXtMt9Tnx5VpLdIsz56YQnJpL7xR4bsdZh0W91/TLbUpseXaS3SLK+emFJzzQBr0VmeKJ9cttIeXw7p9nqGoBl2QXVyYIyM8kuFbHHtXnngH4ieMtfvdSm1bwzoOkaPpGpTafqV42sEmJ4lBZlBjAK/MvJI70AerUVlaH4l8Pa5ZzXmja5p2oW0BImltrlJFjOM/MQeOPWuX8c/ErSNM+Hes+KfC9/pevPpjQo8cN0HQM8qJhihOOGJ/CgDvaKpQarps2pyaVHfWzajFCs8tqsoMsaNwGK9QCehq7QAUUUUAFFFFABRRRQAUVwXxf8W+LPBmiXviDSPDmm6rpOn2T3V28+oNBKNmSVVQjA8D1FO8O+N7230VdW+ISeHvC9tcpG9k39rB/NDLk53qmCMjpnrQB3dFZV/4k8P6fosetX2uadbaZKAY7uS5RYnB6YYnBz7Vi3njOP/hNfC2j6b9kvdP122u7gXkcu4AQqhXaRwQdx/KgDr6Kp6Rqmm6vaG70q/tr63DtH5tvKHTcpwwyOMg8GvPPAvjvxx4uvZ7qw8JaTHoUGqz2ElzJqrCfbDIUZxH5eM8ZA3UAen0Vj2/inw1casukwa/pcuoO0irapdIZS0f+sG3Ocrg59MUuj+KPDes309hpOvaZf3dv/robe6SR4+3IByKANeisOXxj4Tj1K402TxNo6XtsVE9ubyMSRliAAy5yMkgfUitBNU02S4vbdL+2aaxCm7jEoLQAruG8fw5HPPagC5RWRfeJ/DljokOt3mvabb6ZOqtDdyXKLFIG5BVicHPtUj+INBTTrbUm1nT1srpgtvcG5QRysQSArZwTgH8jQBp0Vm6F4g0PXrKS90TWLDUraNikktrcLIiMOoJU8GqVp428H3cM81r4p0WeO3lSGZo72NhHI7bVViDwSxwPU0Ab9FVZtS0+HU4NMlvbdL64RpIbdpAJJFXG5lXqQMjJ96tUAFFFFABRRRQAUUUUAFFFFABRRRQAV4FNovi74heKviDqlha6E2jXkTeGbf8AtUTK/kxKfNeMKPutK7HPcoPSvfaAABwAKAPmNtUju/Afg7VfEuvyaD4y8MC803fe6W95aXMsWIpEkUL1dVQqwIY5OM1a8Y62E0/w347nSHw94vPh3YPD15o8lzaXsbPv+zphcxyFlGMHcAwyMV9I7F/ur1z070FVJGQDjpx0oA+ZvF51KL4rajrHirWovCNpq+hWK2IvNDXUIlHlnz7YORiNhISSv8WQe1XbnT9E8FyfCDVLy8uNT8O6dBfWkmpz6c+797HmEPHtLIMgqoI44r6MZVYYZQR7ilIDDBAI96AERlZFZfukZHHaloooAKKKKACiiigAooooAKKKKAOC/aHjkm+B/jGKKN5HbSpgqopLE47AVzWuaRc+C/g5fa3ZTa14mnOm24NhrE73tvGCU3P5OMnYCWwOSFxXsRAIwRkUUAfLnhiWXUPF3j+6t9ZGv283gV41vbbRTYQyOGk+RVAxIRnGeTzjtXV+E7C6uPEHge3WCRWf4cyQZZCArnyAAfQ+1e7hVAwFAGMdKAo44HHA4oA+WtI8QWV74F+E/g2C11M61ofiCxj1SBrCVRZmMuh8xiu0ZJGME5HNeheDPDaz6n8W9SsdNiTxBc6tPDZXkkeJARaR+VtYjgBmPI7k17HtXJ+UcnPSlAAzgAZ60AfLHwk0mwvJPAml6l42a11jRLmOU6MnhnyLqK4VGWRJJgMlTlsuThuDXrH7Q+l2+s6b4P0+8she2kviywFxCyFlZPnzuH931zxXp21dxbaMnqcc0EA4yM80AeIWHg/QJfjv8QWl8N2TQHw9ZrGGtB5eXWUPtGNuSFUHHPArkPCVxb6Tpnwi8ReOrO4m8O2nh65tRLNaPNHZ3paMRPIoBK/uldQxHH419P4Gc4GaQqpXaVG30xxQB8uapp32rwv4p8Rafot4fAV34x0/UDYpaOn2iyjCi6lWDAby2kAbGPmCk45rXBsPEnxN8Xaj8NtPkt/t/gWe2tL6Kza2iubsOQpQsBkrlRux274r6N7Y7UgVVxhQPoKAPmT4RabpOoax4Ghk8bFNS0Mhk0eLwz9kuIXERWSKaQDheuSeGIB5r6cpAqhiwUAnqcUtABRRRQAUUUUAFePeM/Dr+IP2jdPjbUdb0yKPwrIftGm3LQMW+1D5S4HI74r2GjAznAz60AfPfxf1CbS/Edz4Xn1CPS7aLQUFvqV5oh1S81hmMgaAORjK4GR1JfPSovhpb3n9qfBhpoLgNF4NvUkLo2UbZAAGz0PHQ19EEAkEgEjp7UBV4+UcdOOlAHzL4YlXw34S+DfizWIbqDStLn1GC+mFu7m2MwkWNnVQSFJGM47iqOrvH4l8G/GW9t7C+ax1PX9OaFZrV4nmixApYKQGwQDz6V9UbV27dox6Y4oKqc/KOevFAHgvx20RtE8XeB76wmg8O+GLBLqKW5j0hby3tbhkQRM8OMDKqyiQj5fbNdd+z5penWGi63eaX4mfX4dR1R7l5V042cKSFFDCKPGNpwCSOCc+9emkAjBAI9KAABgAAUAeH+FPEWnfC7x7450zxp9qsLfWdYbV9Mv/ALLJLDcxyRopTcinDqykbTz0xVb4l+NUv/E+iPF5Ph3Sr/SJJ4dY1Dw493cTt5m37IsbD5CR8+Dy2RgV7wyqw+ZQfqKCAcZAODkZoA+Z/CFwfDXw9+DHibW4b2HTdIur6K+l+yOWthLHNHGzoASi5wOnGRUkT6B4os/ivf6tPq+kaPf69p81tff2dIWQpBCY5miKktFuQE7hgg84r6UKqV2lQR6Yo2jngc9eOtAHy74p1HxN4q+GlrdNHB/ZejeLoDc6tp+jMYb60RM/ajaN99VdgGHIO3I4FeifAmx0ybxV4i8Raf42XxHLeW9tDcrb6P8AYbdShfY3A2u+CQSOQMZ7V6+AAMAAD0pFVVGFUAegFAC0UUUAFFFFABRRRQAVT10E6HfgAkm2kwB/umrlFAHylbL4m8F+BPAGv+FtMupr7xT4UtfDlwiIf9Hu/LBtrhx22hpAc+1dTZ6PL4H8Z+L7HR9BOsR6V8P7OG3tGiJS9kR59yHj5ixySOp3e9fQe1cAYGB0pcDOcDPrQB80/C7UJNW+M/hy+i1qDVV/4R+9WcWWgGwgs2PkkQbsfOQQflPK496b4N0ODUtK+BtpqulfabeG41OWSKeElUYK5QsCMdcEZ719LhVHRQPwoCrx8o46cdKAPm3x5oL/APCEfGvTtM0ljCmqW13BbQ25Iz5MDytGoHU4Ynb71J8TNRtNV8V+BvF+ka0uleE47G7gTUm0Q3VvbXRKffiYDYWUMocjsRnmvo/A54HPWk2rt27Rt9McUAfOD+F9Hn8BeHbKHUz4p0vU/H0N3Of7NNrAAwO9EixgR7hnj5SWNa/iGKTwz49+KV5ofhaHUE/4RmxnXThbfuLqQGZTlFGGwoGQOSBiveNq4AwMDpx0pcDOcDPrQB80fDi8k1L4vi8g1yLW4T4Ru45JrPQjYW8T+ZERCDj94Rz15X8TU/hbwzp2n/Bz4RX1nokdtqKa/YTSzJb7ZgZGcSFmxuwQcHPGMV9HhVHRQPwo2rgDaMDpxQB4H4Vv/CGi+KvGOh+PNFkuvEWo+JXuLYSaW9w15AxT7M0TBSNqAeo24J4ri9V0eObU/HHhrxh4z/4R+41TXbmYQSeG/tM9zAzg28kNwAWbCBAMfcK4r6w2rkNtGR0OKCqkhioJHQ46UAQ6fGYbC3haV5ikSqZHGGfA6n3NeBRX+o6D8NPiZf2+gxalJ/wmdwfKu7Rp4kjZoAZzGBmRUGXwOu2voSkwADwOaAPmPwnHpus+IPiH/a2vXesaHe+F4IbnUtO0NrION8obykUHzCoP3gD6dqi1nVtQ1b4MeOtBtZLTW7Cwh09LLXbHSmtTdEzpmNo8YZ4woJK/L83QHNfUIVV+6oH0FG1du3aNvpjigDyX4Ewv4f17xH4V8Q2jt4rNwb6fV3Qn+2bdziOYN0XaPkMY4XHAwa9bpMDO7Az60tABRRRQAUUUUAFFFFAHCftCRyTfA7xpFDG8kjaNchURSSTsPAA61w3xG1y40uTwVp8z2Oh2c2jF21260Y37RyKsYFqi4wrODnnrtwK90IBGCMikKqQAVBA9qAPlzw5a6bH8FvCF9q3iCfw/qGm61qU+mXV3ozSW5YzSqUmgxiMMjfKOCP4at+NYPGXj7R/AUmm2f9gazd6TquYIYmhikUbP3eThoVmUcHhlD19MFVIwVBHpilwM5wM0Acl8INU0XVfh/pr6FpLaLbWyG1fTWiMbWcsfyvER3IPfv17159+z34SaTT9R1ubWfElo6eJdRcWKXrR2rgXD4zFjBB/WvbgAM4AGaAAOgAoA+fvDvhW4ufhb8V59C0oJ4lv9a1lLecR7Z3O5lUIx5GVJAxxz71mfCTTtL1TxL4Okh8dh9S0W2kEWkweGvsUkWYdjxTuBwAecN1IBFfSgAHQAUgVQSQoBPU460AfH93d+Frb4NaR4XvtDnXxvYeI7d9QZ9NcSwzG/XfO8xXG11IAO47twH09I1rxBY+D/AIlfE211q31FZvEFjayaSsFlJN9sK2zRMiFQQWDdQcYBzXr3jPwzpvizRf7J1Qzrb/aILgmFwrF4ZFkTnB43KM+1bZAJBwMjoaAPlV7TUtP0T4R6tqGqNoOkWvhc2xvZ9I+3RWt2yx4Dxn/VlkDAOfQjvWyfCujS+BfCthBqR8U6VqPj+K7nZtNNtBhw5dVixgRbhn+6cmvpAqpXaVBHpjijauAMDA6cdKAPnf4i+HtR/t/4u6b4R02WCa98Mae8cNmnliZw0ocLjA3mNdvHPSt60tvhx8S/Aep+GPCemrbXp0RYfPTTHtzaspBjjZ2QfOsiqdvJGCa9rwM5wM+tNeMNG6KSm4H5l4IJ7/WgDxP9njUNR8eeINQ+IWsW0kEllYQ+H7eOUcrNF814w+suBn0Svbqw/AvhfS/Bvhm30DSPPa2hZ3Mk775ZXdy7u7YGWLMSeK3KACiiigAooooAKKKKACjvRRQAUUUUAFFFFABRRRQAUUUUAFFFFABRRRQAUUUUAFFFFABRRRQAUUUUAFFFFABRRRQAUUUUAFFFFABRRRQAUUUUAFFFFABRRRQAUUUUAFFFFABRRWN4k8R2Oi+XAyyXd/PkW1lAN0sp9cfwr6scAU0gbNS7uLe0t3uLqeKCFBl5JGCqo9yelSRusiB0YMrDKsDkEetcRFot5rNwmoeLGiuCpDQaah3W1ufU5/1r/wC0eB2FJHY6p4YkM3h1TeaZnMmku+NnPJgY/d/3Dwe2KwWJoufJza/gVyTS5rHc0Vm+H9c07XbM3GnzFtjbJYnXbJC/dXU8qfrWlW7TW5NwooopAFFFFABRRRQAUUUUAFFFFABRRRQAUUUUAFFFNkdY42kkYKigszE4AA70AOrNvPEGhWUhjvNa063cdVluUUj8Ca42e5vvGTNcSXFxZ+HiSLe3iYxyXq/89JGHIQ9lGMjk+lXrHRdHsYhFZ6XZQIOgWFf54yaUpwg7PcydR9Dc/wCEs8Lf9DJo/wD4Gx/40f8ACWeFv+hk0f8A8DY/8azPsdn/AM+lv/36X/Cj7HZ/8+lv/wB+l/wqfbQ7MXPI0/8AhLPC3/QyaP8A+Bsf+NH/AAlnhb/oZNH/APA2P/Gsz7HZ/wDPpb/9+l/wo+x2f/Ppb/8Afpf8KPbQ7MOeRp/8JZ4W/wChk0f/AMDY/wDGj/hLPC3/AEMmj/8AgbH/AI1mfY7P/n0t/wDv0v8AhR9js/8An0t/+/S/4Ue2h2Yc8jT/AOEs8Lf9DJo//gbH/jR/wlnhb/oZNH/8DY/8azPsdn/z6W//AH6X/Cj7HZ/8+lv/AN+l/wAKPbQ7MOeR0Gn6vpWoNtsNTsrs4ziGdXP6GrtcJqHh7RL/AAbjTLcSKcpLGvlyIfVXXBB/GpdB1bUNE1W30fWrp76xu28uxv5MeYknUQynuSM7W74weetxlGfw7jVTXU7aiiig1CiiigAooooAKKKKACiiigAooooAKKKKACiiigAooooAKKKKACiiigAooooAKKKKACiiigAooooAKKKKACiiigAooooAKKKKACiiigAooooAKKKKACiiigAooooAKKKKACiiigAooooAKKKKACiiigAooooAKKKKACiiigAooooAKKKKACiiigAoJwM1R1vVtP0Wwe+1K5S3hXgE8lmPRVA5Zj2A5rlJ49X8V5OprNpWiH7tirbbi6X1mYfcX/YHPqe1TOcaceabsgSbdkWtS8TXeqXEmm+E1jlKMUuNTkGbeA9wn/PV/YcDue1S6FolppRlmVpbm+uMG5vJzummI9T2HoowB6VoWtvBa28dtbQxwwxqFSNFCqo9ABUleTiMXKr7q0j/AFudVOio6vcKKKK5DYxtZ0Jbq7XVNOuX03V41CpdxDO9Qc7JF6OvseR2IqxofihmvU0fxDbppuqNkRENmC6A7xOe/wDsH5h79a0aq6rp9lqlk9lqFulxA/VWHQ9iD1BHqORXdh8a4LlnqvxX9djCpRvrHc6CiuJg1DV/Cnyag1xrGhjpcgb7q0Ho4HMiD+8PmHcHrXX2N5a31nFeWVxFcW8q7o5I2DKw9iK9SLUlzRd0c2qdmT0UUUwCiiigAooooAKKKKACiiigAooooAK5b4nsz+GBp6O0f9o3UNmzKcEI7jfj/gIYfjXU1ynxL/49NE/7DNv/ACaqi7O5E/hY9I0jjWONQiKAqqOgA6ClFLRXAZBRRRQAUUUUAFFFFABRRRQAVl+LLNb7w5fwY+cQtJE3dZE+ZGHuGANalQah/wAeFz/1xf8A9BNXTbU00J7G74av/wC1PD2nan3urWOY49WUE1oVznwv/wCSc+Hf+wdB/wCgCujrrluzoWwUUUUhhRRRQAUUUUAFFFFABRRRQAUUVHdXFvaW0lzdTRwQRKXkkkYKqKOpJPAFAElcZ4x8dR6dqDeH/Dtn/bniMpu+yo+2K1U9HuJOka+3LHsO9Yl94o1vxwzWvhCWXSfD5ysuutHia5GeVtUYcA/89WGP7oPWtbw5oWl+HtP+w6TaiGIsZJGLFpJnPV3c8ux7kmgDKsfGPiPwpJt+IAtr3S5SCNa0+ApHasx+5PFyVQZwJBkY+9jrXpNtNDcwR3FvNHNDIoZJI2DKwPQgjgiucZVZSrKGUjBBGQR6GuRi0nWvBc733ghFutMZi9z4fmk2x8nJa2c/6puvyH5D/s9aAPVaKw/B3irR/FVi9xpkzrNC3l3VpOhjuLaTukiHlT+h6gkVuUAFFFFABRRRQAUUUUAFFFFABRRRQAUUUUAFFFFABRRRQAUUUUAFFFFABRRRQAUUUUAFFFFABRRRQAUUUUAFFFFABRRRQAUUUUAFFFFABRRRQAUUUUAFFFFABRRRQAUUUy4mit4XmnkSKJAWd3bCqPUk0APrnfEXidLK6/srSrY6nrDLkW6NhIR/elfoi/qewrMuda1TxOTB4deTT9KyRJqjJiSYdxAp7f8ATQ8egPWtLRdKsNHtDbWMHlqzF5GJLPIx6s7HlifU1z18TCjpu/63/wAi4U3P0KGmaHJ/aA1jXboanqoz5blcQ2wPVYk/h/3jlj69q3KKK8epVlUlzSZ1xgoqyCiiioKCiiigAooooAK5+40a80q8k1TwtJHBLIS9xp8hxbXR9f8Apm/+0OPUGugorWjXnRd4sicFNakfhvxHZ60ZLfy5LPUYP+Piyn4ljPr/ALS+jDINbVctrui2mrCKSRpLe8gyba7gbbNCfVT6eoOQe4qGw8SXmkTx6d4s8tA7BLfVI12wTHsJB/yyf6/Kex7V7NCvCv8ADo+3+RyTg4b7HX0UAggEcg0VqSFFFFABRRRQAUUUUAFFFFABXKfEv/j00T/sM2/8mrq65T4l/wDHpon/AGGbf+TU0RU+FktFFFcJkFIzKqszsqqoyWY4AHqTS14h+1LLcalqXgLwNJqE1ho/iPWPJ1OSJ9hkjXbiMt2BJ/lTSuxpXPX5Nc0WPT59Rk1jT1srf/XXH2lPLj/3mzgfjV2GSOaFJoZFkjdQyOpyGB6EHuK8F+OPwy8F+B/gl401Dwto/wDZclxpsdvMkcrlHUTIQSpJ+b3rG8X/ABi8QaFfaN4M8M3Wj6U1l4ftbq6vdSs57kSu0SlYkSJWI4x8x4qlG+w7XPpaivANR+Lviq++GPhjxHa6l4Z8KX2omdLyPVreeV3eNto8iFFLsDySccZFZifHLxlc/A+z8WWdppL64vidNFmHlMLe4U5+ZVPKZ469PSjkYcrPpKisTwTH4oj8Owr4yuNMuNY3MZn09GSHaT8oAbnIGAT3rbqCQqvqP/IPuf8Ari//AKCasVX1H/kH3P8A1xf/ANBNVD4kJ7Fv4Yf8k58O/wDYOg/9AFdHXOfDD/knPh3/ALB0H/oAro67Z/EzojsgoooqRhRRRQAUUUUAFFFFABRRXD+L/Gl5HrE3hbwjYrf65GiNdTT5W009XGVaVurMRyI15Pcgc0AbXjLxZo/hW0il1KSSS4uG8u0srdPMuLp/7saDk+54A7kVxD6PrPjG6j1HxyqQ2CMHtfD0Um+FCDlXuGH+uf8A2fuD0J5q/wCGvDEGl3kur393Nq+vXC7bjUrkDeVznZGo4jjHZF/HJ5roKAEACgKoAAGAAMACloooAKKKKAOe8SeGItSvY9Z0y8l0bX4F2walbqCxXOfLlU8Sxn+634EHmrvhfx1KNTh8OeMrWLSNakJW2lRibTUMd4XPRvWNvmHbcOa1Kpa5pOm65pkumatZxXlpKPnjkGRnsR3BHYjkUAdnRXllvrevfD2Nv7Ylu9f8KRgn7aRvvdOT/pqOs0Y/vj5wOoPWvTrS4gu7SG6tpVlgmRZI3U5DKRkEfUUAS0UUUAFFFFABRRRQAUUUUAFFFFABRRRQAUUUUAFFFFABRRRQAUUUUAFFFFABRRRQAUUUUAFFFFABRRRQAUUUUAFFFFABRRRQAUUUUAFFFFABRRWR4l8T+HfDVq114g1zTtLhA3Frq4WPj2yeaANeivnnxx+138LdCEsWjNf+IrlMhRaw+XET/vvjj3ANeNav+1L8Y/HUzad8PfCa2JclQ1naveTjP+0RtB/4DQB9peLfE2keGLBbrVbkRmQ7YYgR5kzeij+Z6Dua43w/eWnxBabUL3VtP1CytJ/L/suxuVmghkGCPOdeJHxg4+6PfrXyvB+z7+0F8ULyHUPH2uNZR4JVtTvDI8YPULEmQv04r3H4G/DZfgONT03VNWub6w1WaNo9Q8sLbRuoIw45MbHOMklTgcis6/P7N+z3/H5Dhy83vbHtYAAAUAAcADtS0gIZQykEEZBHQilrwDvCsP4g6ldaP4D1/VrF1S7stNuLiBmUMFdIyykg8HkdK3KwfiJp93q3gDxDpdhF5t3d6ZcQQR5A3O0bBRk8Dk1ULcyuJ7GB8JvGE2qfBHRfGviu+gjkk037Xf3JURooGdzYHA4HaqvgT41+A/GWurouk3WoRXksD3FsLyyeBbqNRlmjLD5hjmvMPDPhv4pa18DZvg/rXgM6DCujtbw6w+qRSK8yMHRWjXJAYjaTk4Gah+FPw98cQeKtDutf8G6tZXehWM0Vnqd94nF3bxS+UVXy4AMhC2OM4Aro9lD3m3+KM+aWh6X4e+PHw/1zxJZ6DbSavb3F/IYrKW702SGK5cfwozDkntV5PjJ4Jf4ey+OBcXv9mRX39nvH9mP2gXG8J5fl9c5IP0rwvRPh/wDGrUvGHg6+8WaPqtw+j67HdX17c69HNA6Bj88NuMCMAemSfSuhm+EfjBvjlLYLYJ/wrqfxEniWWYSrzOsZPlbM5/1h9MVTpUr7/iJTkekeK/jr8PPDPiCfRNSvb9p7Uot7Lb2MksNmzYwsrqMKeeR2qz4u+M3gbw14gh0O6ub+9u5IIrhv7PsnuEhik+47svABBB+hrxPxX8KPH1j4v8Z29v4X1bxJoniO/ku0ax8TLYQlX6pPEQd2On0FanxJ+H/xCHiTTG+H/gyfSNRs7GztIPENrryohjRFDRXELD96FIIBxyAOvSj2VLTX8UHNI+nAQQCOhGRS1HaiZbaJbhleYIokZRgFscke2c1JXGbBUdzBDc28lvcQxzQyKVeN1DKwPYg9akqO5nhtreS4uZo4YY13PI7BVUepJ6U1e+gnbqYEEWr+FTu0lZtU0UH5tPZt09svrCx+8v8AsH8D2rlfG37Snwu8Iawmlarf6g9w0KzHyLNnCg5+VuhVgQcqRkV1UEur+Kzt0tp9K0U/ev2XbPcj0hU/dU/3z+A71j+J/wBn/wCE/iS/W/1jwstxdCMRmUXUqswGeWwwy2Sck8mvoKXtOT978X9b+f8ATOCXLze5t/WxyQ/a7+DR63+sD66c3+NPX9rj4MH/AJimqj66dJWi/wCy18E2/wCZUkX6X83/AMVUT/sqfBVv+Zcul+l/L/8AFVQFdf2tPguf+YzqQ+unSf4U9f2sPgqf+Y9fD66dL/hSN+yd8F2/5gd+v01CT/Gom/ZI+DDf8wrVB9NRegC0v7VnwUP/ADMl0Prp03/xNPX9qj4Jt/zNE4+unz//ABNZrfsh/Bo9LHWV+mot/hSL+yD8Gwcm01th6HUT/hQBsL+1F8E2/wCZtYfWxm/+JqVf2nPgo3/M4oPrZzf/ABFYEn7IHwdZSFt9cjPquoHj8xULfsd/CMnKtr49vtw/+JoA6pf2lvgo3/M7W4+ttN/8RVLVPjN8NPGmp6BofhnxVbahqMmrQukCxSKSqhiT8ygcCubl/Y2+FLfduvEMf0u1P80qKz/Zu8DfDfxT4e8VaFfazLew6pHGqXMyNHh1YHgKD+tNEz+Fnt1FFFcJiFcn8UPAOg/ETw8uj66s8fkyie1urd9k1tKOjo1dZXLfEL4geE/AVnBc+JtUW1Nw223gRGkmmPfai8n69KavfQaOOPwShuvDmtaTrfjzxTrcmq2a2X2i9nD/AGeIOr/InTJKjJPNWfFHwa0/VNT0/WNH8T674b1e00+PT5LzTpFBuoYwAokUjBIx1rofh18SvCfj6W8g8O3dy9zZBWuLe5tXglRWztO1hyDg9K7HB9DT5pId2eVa/wDBez1W08POvjPxNa6xoSSxw6us6vcypKcuHJGPpjoKgtvgToNv4HXwmmuarJbL4gXXfPl2vKZV/gJ7g9z1r0/XNV03QtLn1TWb6DT7G3AM1xcPsSME4GT25IFWbeSO4hjmhYSRyoHjZeQykZBHsRRzMLsfRQetFSSFQX+PsNxnp5L/APoJqeoNQ/5B9z/1xf8A9BNVH4kJ7Hx9pvhT9rSbT4Ljw/q2qrpEiBrFU1SFQsJ+4AC2Rxjipz4X/bNTpqmtH/uJwH+tfYfwu/5Jx4d/7BsH/oArpK7Z/Ezojsj4W/sL9tBP+Yhrp/7frc/1pP7M/bRT/l515v8At6tj/WvuqipGfCht/wBtJP49fP8A21tj/Wkz+2kn8HiA/jan+tfdlFAHwn9q/bSX/lj4gP8A2ztTS/2p+2gn/Lp4gP8A262x/pX3XRQB8KHxB+2dH10/xAf+4fAf6U3/AISz9sqPrpmvH/uEwn/2Wvu2igD4RPjr9sWPrpOun/uCRH/2SvSf2etV+J8nimXVfijDdWtzr2+yijubNbYmS2QSIwUAA5R5Bn/YxX1LXD/G2xaXwQ+tQRs13oFxHq0G37xEJzIo+sZkH40AaVFRWtxDd2sN3bOJIJ41kjYdGVhkH8jUtABRRWN401PVtI8O3F7oehya5qIKpBZJKI97McZZjwqjqT6CgDZory34U/EvX/EfjvXPBPizwxbaNq+lW6XBazvPtELIxGAT2bkfrXqVABRRRQByXxSzeaDbeGYZmiuPEN7FpqlfvCNjumI+kSvXqEEUcEEcEKBI41CIo6AAYArzjRUj1z4xuzR74fDOncMeguro9vcRJ/5Er0qgAooooAKKKKACiiigAooooAKKKKACiiigAooooAKKKKACiiigAooooAKKKKACiiigAooooAKKKKACiiigAooooAKKKKACiivIPH37SPwl8Hzy2lz4h/tO9jJV7bTYzMysDggtwoP1NAHr9Br4r8WftneINUuXsPh/4JVHfiKW8LTyk+ojTj9TXOp4b/at+L8bPqV3qmmaZMeVuphYQEHsI1wzD8DQB9feOfi38OfBcLt4g8W6bbyr/wAu8colmJ9NiZNeD+O/21fDNmGg8G+Gb7VZe0964t4vwUZY/pVDwP8AsT6fGEuPGvi6e6lzue306PYp9vMfJP5CvevA3wP+Fvg3ypNG8H6ebmMcXV0n2ibPrufOD9MUAfKEnxN/ag+LVwYvC2mX+l2L8A6da/Z4gPeaTk/gfwrV8M/se+OvEd62pfETxlFbSSHdII3a8uGPu7EKPzNfbyqqqFVQoHQAcCloA8P8Cfss/CTwyiPdaPLr90OTNqUu8Z9kXCj8jXsmkaVpmj2SWWk6faWFsgwsNtCsaD8FGKuUUAFMnijnheGaNJI3Uq6OMhgeoI70+igDirjQ9T8MsZ/Dqvf6V1fSmb54R3MDH/0WePQjpWjourWOsWn2qwm3qDtkRlKvE3dXU8qR6GukrnvEPhmO+u/7V0u4OmawoAFzGuVmA6JKnR1/UdjXPXwsK2uz/rf/ADLhUcPQt0Vh6Zrki366Pr1qNN1Uj5F3ZhufeJ/4v904YenetyvHqU5U5cslqdcZqSugoooqCgooooAKKKKACiiufn1i91a8k0zwrHHPJG2251CUZtrY9wP+ej/7I4HcitaNGdaVooidRQV2Tat4n0iwun09Lhb3VFZVGn2rCS4LMMjKA/KMc5bAA70un+GrzVriPUfFhjk2EPBpcbbreAg5DOf+Wr+5+Udh3r5M+N3wb+LHw18bXfxU8DeItS1tnkae7uYxi7iz94PGOJI+OwwB1HGa9N/Z8/ao0Hxibfw/458jQtfYiNLgnba3LfU/6tj6Hj0PavYoUI0Vdb9/8jknNzeux9KjgUUisGUMpBBGQR3pa2JCiiigAooooAKKKKACiiigArk/iX/x66J/2Gbf+TV1lcn8S/8Aj10T/sM2/wDJqaIn8LJqKKK4TIDXz54svLLRv2thqHimW1torjw55Xhy6v8A/j1iuR94EngHOc9+fcV9B1keKfDPh7xTp4sPEejWWq2ytuWO5iDhT6jPQ/Sqi7DTPnuX4ieMdW0H4s6Trd14abUNB0JZINU8Oh03F8nAkLZOPwwc1W1NE0P4ReFLzWvG3jrUNY8ZNbTBLfVUtgX8rPliVxthjwwyeSSBXvekfDrwLpGjX+j6X4V0u0sNRj8q9hihwJ0/uuepH41a1jwX4T1jw5a+HNU8P2F5pFoqLbWksW5IQowu3uMDiq5kVzI+RrybVdd+A/xP03U9d1m4tvDmp28likuqrdthjtaOSZRiVOc8YGQD2rovHN9e6Lo3w58F+HPFWtXuharby3V3cpr0cE8swVT5AumBVFXPC/hX0lpHgPwZpGmahpmmeGdMtLHUUCXlvHABHOoGAGXoeKrv8NvAMnhiPwzJ4S0p9HilM0do0AKJIerDuCfXNHOg5kcl+zLJ4oHhnWLLxHqa6jFa6iU0931OO+mjhKg+XLLHwWHvjrXrNZHhXwz4f8K6adN8N6PZ6VZlzI0VtHtVmIxuPqeOta9Q3dksKg1D/jwuf+uL/wDoJqeoNQ/48Ln/AK4v/wCgmnH4kS9iz8Lv+SceHf8AsGwf+gCukrm/hd/yTjw7/wBg2D/0AV0lds/iZ0R2QUUUVIwooooAKKKKACiiigApk8Uc8EkEyB45FKOp6EEYIp9FAHlvwtaa10G58OXQIuPD97Lppz/FEp3Qt+MTJXWVzusRSaN8YhIGAs/Eem9PS6tj/NonH/fuuioAK5T4tXul2XgLUf7b0fVtX0y4C211baZGzzmNzgsApBwO5BzXV0AkdOKAPmv9mbSprL4s+IbrwdouvaV4AnslyusQlZJLoEY2FvmIA3dSf5V9KUEk9STRQAU2WSOGJ5ZWCxopZ2PYAZJp1cp8U3mm8Lf2FaTGK7125i0uFh1USnEjD6Rhz+FAGx8E7e4k8ISeILyPZda/eS6kykcrG5AhX8IlSu5qGytobOygs7dAkMEaxxqOyqMAfkKmoAKKKKACiiigAooooAKKKKACiiigArG8UeILfQI7RprS8u5LufyIYrZAzltrN3IGMKa2a474j/8AIT8Lf9hNv/SeWtKUVKVmRNtRuh//AAm5/wChV8Q/9+Y//i6P+E3P/Qq+If8AvzH/APF0UV0+yh2MueXcP+E3P/Qq+If+/Mf/AMXR/wAJuf8AoVfEP/fmP/4uiij2UOwc8u4f8Juf+hV8Q/8AfmP/AOLo/wCE3P8A0KviH/vzH/8AF0UUeyh2Dnl3D/hNz/0KviH/AL8x/wDxdH/Cbn/oVfEP/fmP/wCLooo9lDsHPLuR3Pj+G1ga4uvDevwQJy8jQR4Qepw/SuyHIrzfxz/yKOp/9cD/ADFejr90fSsa0IxSaLpybbTFooorA1CiiigAooooAKKKKACsDxb4iGkLFZWMIvdYuwRa2oOB7yOf4Yx3P4Dmjxb4iGkLFZ2UIvdXu8i1tQcfV3P8MY7n8BzWVoWkmxaa9vLg3uq3ZDXV0wwW9EUfwovQL+J5pTmqauy6dN1HZbFJNB1iVfNvPGmvfaH+aQW0kccQY9QilCQvpyad/wAI9qH/AEOnif8A8CIv/jdb9Fcn1ur3/I6/q1LsYH/CPah/0Onif/wIi/8AjdeQN+yh8O7rXL/VdU1HXb17u4efy/OSNULHJHC88k+le/UVLxNR7saw9NbI8/8ACnwq0bwhamLwlqV/pDgfK8ccByR03ny9zD2JrvfCPiKTUJZNJ1aFLTWrZcyxKfkmTtLET1U/mp4NPrM1/SI9Uiikjme0v7ZvMtLuMfPC/wDVT0KngitqWJbdqn39jKphla8Nzs6K5zwj4ik1CWTSdWiS01q2XMsSn5Jk7SxE9UP5qeDXR10tWOVMKKKKQBRRRQAUUUUAFFFFAFLW9J0/WrBrHUrVLiFiGAbgqw6MpHKkdiOa5OZtX8J/LqLT6toi/dvQu64th6SqPvqP74GR3Heu5oPPWpnCNSPLNXQJtO6MS1uILq3jubWaOeGRdySRsGVh6gipax9S8M3el3MmpeE2jhZ2L3GmSHFvcEnkr/zzf3HB7jvUmh63aaqZYVSW1voOLizuF2zRH3HcejDIPrXk4jCSpe8tV/W51U6ylo9zUooorkNgqrquo2Wl2T3moXCW8C/xN3PYAdST2A5NUNZ1xba8XS9Ntm1LV5BlLWI4EY/vyt0Rfc8nsDVnQ/C7LeprHiC4XUdUXmIAYgtPaJD3/wBo/MfbpXdh8E5+9PRfi/67mFSslpHczrfT9Y8VYk1FbjR9EOCtqDsubsf9NCP9Wh/uj5j3I6V2FhZ2thZxWdlbxW9vEoWOKNQqqB2AFT0V6kUox5YqyObd3e4V88ftB/sv+GfHouNc8KiHQPEbAu2xcW123+2o+6x/vD8Qa+h6KYHwT8O/jP8AE/4B+IU8E/ErS72/0aJgqRztulhjHG63l6On+yTj0xX2l8PPHXhfx/oEet+FdWhv7ZwN6g4khb+66HlT9ab8RvAfhb4g6BJovirSob63IPluRiSFsfeR+qmvi34hfBz4ofs++IX8a/DfVb2/0WM5eWFcyRJ12XEQ4dP9oDH0oA++KK+ev2fP2nvDPxAEGieJ/I8P+I2wqq74trpv+mbH7rH+6fwJr6FoAKKKKACiiigAooooAK5P4l/8euif9hm3/k1dZXLfFBHXwx/aCRtJ/Z11DeMqjJKI434/4CWP4VUVd2IqfCx9FNjdJI1kjYOjgMrDoQehp1cBkFFFFABRRRQAUUUUAFFFFABUGof8eFz/ANcX/wDQTU9ZXiy8Fj4cvp/4zC0cS93kf5UUe5YgVdNNySQnsa/wu/5Jx4d/7BsH/oArpKz/AA1Yf2V4e07TeP8ARbWOE49VUCtCuyTu2dC2CiiipGFFFFABRRRQAUUUUAFFFFAHB/G+18vwlB4kiDfaPDl5HqalRyY0ysy/QxM/5CtSKSOaJJoWDxuoZGHQqRkH8q6O9toL2zms7qJZYJ42jlRhwysMEH6g15X4ct/iB4f0O10JvBa6munobeK7TWIkE0aEiNtrLkHbtyD3oA7Oiuc/tDx7/wBE5P8A4PIP/iaP7Q8e/wDROT/4PIP/AImgDo6K5z+0PHv/AETk/wDg8g/+Jo/tDx7/ANE5P/g8g/8AiaAOjrmrGNNc+MdrEQXg8Nae1y/90XNzlEH1Eauf+B07+0PHv/ROT/4PIP8A4mtn4XaLqmm2Oqalr1rFa6tq+oSXU0McokEUYASKPeOGwiL07k0AdhRRRQAUUUUAFFFFABRRRQAUUUUAFFFFABXHfEf/AJCfhb/sJt/6Ty12Ncd8R/8AkJ+Fv+wm3/pPLWtD418/yM6vwj6KKK6zEKKKKACiiigAooooAxfHP/Io6n/1wP8AMV6Ov3R9K848c/8AIo6n/wBcD/MV6Ov3R9KxxHwr5/oXS+Ji0UUVym4UUUUAFFFFABWD4t8RLpCxWdnCL3V7vItbUHGfV3P8MY7n8BzW9XnvhFVn1XxHqE37y7Orz23mtywijICID2UZPHvSlJQi5MqEeeSiXtB0k2LTXt7cfbdVu8G6umGN3oij+FF7L+PWtSiivOnNzd2ejGKirIKKKKgoKKKKACiiigDM1/SE1OKKSOZ7S/tm8y0u4x88L/1U9Cp4IrQ8I+In1CSTSdWiS01q1UGaJT8ky9pYieqn81PBp9YHjSNEj0vUEGy7ttTtVhmXhlV5kR1z6MpII712Yaq21Tlt08jkxFJWc1ud/RRRXScoUUUUAFFFFABRRRQAUUUUAFY3iXw5Y60I5maW0v4Afs17bnbLCfQHuvqpyDWzRTTA4dNavNFuU0/xYsUG47YNSjG22n9mz/qn/wBknB7GkjvdU8UO0Ph5mstMyVl1Z05f1Fup+9/vngdga63W2sI9IupdUjikskiZpllUMpUDJyDwa474R+NR4qj1C3nWOGa3mLQxKMYgJ+UY9un5VgsNRUufl1/Arnm1a51fh/RNO0Oza20+ErvbfNK7FpJn7u7Hlj7mtKiit229yUrBRRRSAKKKKAChgGBVgCD1BoooA+Zv2gv2VNB8XfaNf8B+RoWunLva422ty3XoP9Wx9Rx7d68r+Fvx/wDiB8G9eHgb4saXqF7p1uwjDTjN1bJ0DIx4lj9Ofoe1fdtcf8U/ht4R+JWhNpPinS47jaD5Fynyz27H+JH6j6dD3FAGp4J8W+HfGmgw654Z1W31GxlAw8Tcof7rDqrD0NblfAPjH4b/ABa/Zr8SP4r8Falcaj4e3/vJ4kLIUz9y5i6f8CHHoRX0V+z/APtJeE/iVHDpOqNHoXiUgA2kr/urg+sTnr/unn60Ae6UUUUAFFFFABTZEWSNo5FDIwKspGQQe1OooA87mtb7waTbvb3F74eBzbzwqZJbJT/BIo5aMdmGSBwRxmrtprmi3abrfVrGQe065H4E8V29ZeoeHPD+oyGS/wBD026c9WmtUcn8SKUoQm7vcydN9DE/tDT/APoIWf8A3/X/ABo/tDT/APoIWf8A3/X/ABrQ/wCEK8H/APQq6J/4Ax/4Uf8ACFeD/wDoVdE/8AY/8Kn2MO7FySM/+0NP/wCghZ/9/wBf8aP7Q0//AKCFn/3/AF/xrQ/4Qrwf/wBCron/AIAx/wCFH/CFeD/+hV0T/wAAY/8ACj2MO7DkkZ/9oaf/ANBCz/7/AK/40f2hp/8A0ELP/v8Ar/jWh/whXg//AKFXRP8AwBj/AMKP+EK8H/8AQq6J/wCAMf8AhR7GHdhySM/+0NP/AOghZ/8Af9f8aP7Q0/8A6CFn/wB/1/xrQ/4Qrwf/ANCron/gDH/hR/whXg//AKFXRP8AwBj/AMKPYw7sOSRhX/iPQ7MES6nbvJ/DFC3myMfQKuSTUug6RqOt6rb61rVq9lY2reZY2EmPMaTHE0voR/CvbOTzXU6bo+k6YP8AiW6XZWfY+RAqfyFXquMYw+Hcap66hRRRQahRRRQAUUUUAFFFFABRRRQAUUUUAFFFFABRRRQAUUUUAFFFFABRRRQAUUUUAFFFFABRRRQAUUUUAFFFFABXHfEf/kJ+Fv8AsJt/6Ty12Ncd8R/+Qn4W/wCwm3/pPLWtD418/wAjOr8I+iiqmtLcvo18lkSLpraQQkf39p2/riusyOB8TfHD4c+H9buNHutWubu7tTi6FhZyXC257h2UYFd3oGr6dr+i2mtaRdLd2F3GJYJlBAdT355H418vfC7xVceGfgKR4T1Hwpp/ibTbi7l8R2uuAi4nZSSAoyCzHGBnjtW/pHjm6uPGHwZ1rVNQttE03VdKvHu4IZPs9mZMHGVzt64xnuayU+5Tie3fETxfpfgXwy/iDWkuGtFmihIgTc26Rtq8E9MmmaL400nVvHWseDbVLn+0tJt4bi4LJiMpIAV2nPJ5Ga+YfF+uz6/8Kfibctq0upWaeN7ZbKQzmRFi8wYCdgv04rqta0fUtd+LXxfsNGvrux1P/hHrGa0mtpSjiWNUZRkc4OMH60e0dw5T6Zor55+CfjXVvin8StI1VLy7j07w94djXUoldljm1CUlTuXo2ApPtX0NWkXdXJasYnjshfB+qMxAUW5JJOABkV20fiDQWUbdb008drpD/WuA+KFq198OvEFiriNrmwlhDEZCllxn9a+dU/Yj8QBcj4g6fnHaxkH/ALNWWI+FfP8AQql8TPs5dY0lvu6pYt9Lhf8AGpV1Cwb7t9bH6Sr/AI18VP8AsU+Ll/1PxA00/W3lH9ajb9jHx4v+r8e6Wf8AgMwrlNz7dW4t2+7PE30cVIGU9GH518Mt+xz8S1/1fjjSj/20nH9KY37IPxYX/V+NdKP/AG9Tj/2WgD7qyPUUV8J/8Mk/GNP9X400z8L+4H/stH/DKvxxj/1fjWx/DVLgf+y0AfdlefeCv9Z4i/7D13/MV8rD9mP9oCP/AFfja3/DWJx/Svev2ZtB1zwz8ObjQ/El4LzVbTV7pLmYTGXe24c7jyazrP8AdP5GtD+Ij1Ciig9D9K849A8p8L/HTw74k8RR6PpPhzxVOHvjYm8XTibaOQNtJZwcADv7V1fw08c6f48stVutNs7q2XTdTm06QT7cu8eMsME8HNeJfsnab4+ntr6+0nxXp1p4aj8TXX2vTZNPEk02GG7Ev8ORj6YrhE1a+074W6rbLqV3pWiah8R57XWr21Yq8NscZG4fdB9fauh04vRHOqkt2fahB9KMH0NfItjqP/CJ+LvHth8G9evtY0G28JNeEi7a7jtrzcACjHPzbcn8/SqHhiXw7puq/C3V/h/4y1PV/FusX8K69btqDzGSNgDN5sZOECncPwz71PsfMftfI+p/iR4rs/A3gnUfFeoWtxdWtggd4oMb2BYLxnjvWzpd2moaZa38assdzCkyq3UBlBAP518NeOZvD2seBfiJrfivxbqUfjyPWpbW30171kBt1kG2MQ9GTGTnttFfbHg7/kUNF/7B9v8A+i1pTgopFQm5NmrWB46Yrpdjjvq1iP8AyYSt+uf8ef8AILsP+wvY/wDpQlVhv4sRV/4cj0Ciiiu44AooooAKKKKACiiigAooooAKKKKAK+o2drqFnJaXtulxbyD543GQ31rlPhtouhWsVxf6d4eu9Kn894/9LH7wrx05+4e1dk5whJOMDrXNfDe4t7nQZJrbW7zWIzcuPPukKOpGPlwewoA6aiiigAooooAKKKKACiiigAooooAbNHHNE8M0aSRupV0cZDA9QQeor5Y+P/7J+m61JN4k+GbRaPqwPmPpu7ZbzN1zGf8Alm3t936V9U0UAfDvwh/aT8ZfDXWB4H+MWnahPb2zeWbmZD9stR23Z/1qe/XHQmvs7wr4i0TxTokGteHtTttSsJxmOaB9w+h9D6g8iuY+L/wn8G/FHRjY+JNPH2lFItr+EBbi3P8Ast3H+ycivjfXvCfxi/Zd8Strnh68k1Lw1LJ88yIWtpl7LPH/AANj+L8jQB+gdFeN/AT9oTwf8UreKxMi6N4iCjzNOuJB+8PcxN/GPbqPSvZKACiiigAooooAKKKKACiiigAooooAKKKKACiiigAooooAKKKKACiiigAooooAKKKKACiiigAooooAKKKKACiiigAooooAKKKKACiiigAooooAKKKKACiiigAooooAK474j/8AIT8Lf9hNv/SeWuxrjviP/wAhPwt/2E2/9J5a1ofGvn+RnV+EfRRRXWYnJeIfhr4A8Qam2qa14Q0i+vmOXnltxvY+5HX8at634G8H63o9no+reGtMu9Psv+PW3kgGyH/dHauiopcqHdnMD4feCRpV1pK+F9MSwu547i4tlh2xySJjYxA7jAxWna6DpFjrV9r1jptrDq17EsVxchcNKqD5FY+gwK1KKLILnnnwM+Hcnw+0XVUvrmzutU1bUZL67ktIykS7j8qIDzgDP516HRRQlZWBu5i+Of8AkUdT/wCuB/mK9HX7o+leceOf+RR1P/rgf5ivR1+6PpWWI+GPz/Qql8TFooorlNwooooAKKKKACvPvBP+s8Rf9h67/wDQhXoNee2gfw34jvtO1JQtvq1/Ld2N3/A7yYJhb+64xx/eHTnipqpyptI0otKomzoqKKK8w9Ep6PpOl6Pbvb6Tp9rYwvK0zpbxhFZ26sQO59arw+HfD8OnXenRaJp6WV5I0t1bi3Xy5nbqzLjBJ9TWpRTuxWRm6DoGh6Bava6Ho9hpkDnc8drAsasfU4HNQaR4U8MaPqMupaT4d0qxvZs+ZPb2qI7Z68gZrZoouwsjEv8Awh4Uv7+5v77w3pFzd3UZiuJ5bRGeVD1ViRkitmGOOGJIYUWONFCoqjAUDgAU6ii7CyCuf8ef8guw/wCwvY/+lCV0Fc7q5fxBrFtoGmr5hs7y3u7+4/5Z24jcOE93bA+XsDk1vhYt1U+xjiGlTfmehUUUV2nCFFFFABRRRQAUUUUAFFFFABRRRQBn+ItXs9D0mXUdQlMNumAX2FgpPAyBzjNc78MfE1vrVlLatqNne30TM8htLZ4o1Qn5fvDrV3x3q2lQadLo93BNqF1fRMkdhbKHmkU8bsdFA/vEgVjfBDT9L03wvJHaXHm3zTE3qOu2WJuioynlcD8+cU+V2uK6vY76iiikMKKKKACiiigAooooAKKKKACiiigAqK8tre8tZbW7gjuLeVSkkUihldT1BB4IqWigD5G+Pf7JyS3Enin4TSf2ffxt5zaV5hRCw5zA/wDA2einj0IrC+Cv7UWv+ENSHgv4yWV6fszeT/aEkRFzbn0mT+Mf7Q5+tfa1ecfGr4M+DPipphi1yzFvqaLi31O3UCeL0BP8a/7J/DFAHc6DrGl69pMGraLqFvqFjcLuingcOjD6ir1fnzdWHxn/AGV/EpurSQ6l4Ynl5Zdz2VyM9HXrFJjvx9SK+sfgZ8dfBfxVskhsLkadripmfS7lgJAccmM9JF9xz6gUAeq0Vm6/rul6FAs2pXSxGQkRRgFpJT6Ig5Y/QVhp4yvLgb7TwlrLxn7rTNDCSPXaz5/OqUXa5LnFbnXUVyL+LNaBGzwbfN9b23H/ALPTf+Et1z/oS7z/AMD7f/4qjkfdfehe0idhRXH/APCW65/0Jd5/4H2//wAVR/wluuf9CXef+B9v/wDFU+R9196D2kTsKK4//hLdc/6Eu8/8D7f/AOKo/wCEt1z/AKEu8/8AA+3/APiqOR9196D2kTsKK4//AIS3XP8AoS7z/wAD7f8A+KpU8Wa0T83gy9A9r23P/s9Lkfdfeg9pE6+iuRbxv9lYHVfDms2UR6zLGk6J7t5bEge+K6XTNQstTso73T7qK6t5B8skTblNDi0rjUk9izRRRUlBRRRQAUUUUAFFFFABRRRQAUUUUAFFFFABRRRQAUUUUAFFFFABRRRQAUUUUAFFFFABRRRQAUUUUAFFFFABXHfEf/kJ+Fv+wm3/AKTy12NcR8VLq1srvwxcXlxDbQrqjbpJXCqP9Hl6k8VtQ+Nf10M6vwlmisj/AISfw1/0MOk/+Bif40f8JP4a/wChh0n/AMDE/wAa7OV9jC6Neisj/hJ/DX/Qw6T/AOBif40f8JP4a/6GHSf/AAMT/GjlfYLo16KyP+En8Nf9DDpP/gYn+NH/AAk/hr/oYdJ/8DE/xo5X2C6Neisj/hJ/DX/Qw6T/AOBif40f8JP4a/6GHSf/AAMT/GjlfYLoZ45/5FHU/wDrgf5ivR1+6PpXkvjHxF4fuPC+oQwa5pksrxbURLpCzEkYAGeTXrS/dH0rDEpqMb+f6GlJ6sWiiiuQ3CiiigAooooAKp6zpllq+nTafqECz28owynt6EHqCOoI6VcooTsBwNpPe+H9Si0LXZmmilO3TtRfgTjtFIe0o9f4hz1zW9WprOmWWsabNp+oQLNbyjDKeCPQg9iDyCOlcba3F7oGpRaFrkzTRSnbp2ovwJx2ik9JR+TDkc5FYV6KkuaPzR00a1vdkb1FFFcJ2BRRRQAUUVh6heX2qam/h/w/IEuFA+3X2MpZIew7NKR0Xt1PvpSpSqOyIqVFBXYaheX2q6k/h/w/IEnXH26+xuSyU9h2MpHRe3U+/W6BpFjoemR6fp8WyJMsxY5aRj952PUsTyTRoGkWOh6ZHp+nxFIkyWZjl5GP3nY9WYnkmr9eilGC5Y7HnSk5vmkFFFFAgooooAKKKKACiiigAooqjrerafoti17qVwsEIOBnlnY9FUDlmPYDmhK4XLxOASTgVyGoeJbzV7iTTvCQjdUbZcarIu6CH1EY/wCWr/T5R3Paqs0WreLDv1RZtK0U4KaerbZ7kf8ATZh91f8AYH4ntW/awQ2ttHb20McMMahUjRQqqPQAdK5K+MjT92Gr/Bf5/kaQpOWr0RQ0LRbPSVkeNpbi7nwbm8nbdNOf9pvT0AwB2FRazocd5dJqVjcPp2rRgCO8hAywH8Ei9HT2P4EVsUV5ir1FPnT1Ol04uPLbQzdD8USLex6P4kt00/U34hkU/wCj3fvGx6H/AGD831611Fc/qmn2ep2T2V/bx3ED9Ucd+xHoR2I5FZEF9q/hMBLw3OsaEuAJwN91aD/bA/1qD+8PmHfPWvWoYqFbTaX5+n+RyzpuHmjt6KgsLy1v7OK8sriK4t5V3RyRsGVh7Gp66CAooooAKKKKACiiigAooooAKKKKACiiigCtqmn2Oq6fPp+pWcF5ZzoUmgmQOjqexB4NfJfxb/ZY0zRPEdv408Ea9PoOmW9wJry1V2823Gf+XZhzkn5Qp6EjntX17XKfEw7tM0uBuUm1a2Vx2IDFv5qKcbX1Jk7JmP4a0maALqmsSNdazNGBJLIdxhXAxEmegHc/xHJNbtBorjlJyd2YpWCiiipAKKKKACiiigAooooAKwL7PhfUf+Ei09WSzdwNVtU+46E488Ds69SR1XOe1b9VNahW40e+gkAKyW0ikH0KmtaM3GS7Cfc7BWDKGUggjII70tYfw+uZLzwLoV1KSXksIWYnudgrcrpas7HQndBRRRSGFFFFABRRRQAUUUUAFFFFABRRRQAVDe3VtY2kt5eXEVtbQoXlllcKiKOpJPAFY3jTxdpPhW0je+aWe8uDts7C2XzLm6f+7Gnf3JwB3Irim0XWPF13HqXjry1tI332ugQvut4v7rTt/wAtpB6fcU9AetAHceEfFvh3xZbzT6BqkV4IH2SqAVdPQlWAIBHIOMEcjNblec+IvC9vqV3Dq2n3U2j65bKFt9RtQA4Uf8s5F6SR/wCw34YPNWvC/jq4i1KHw542todK1iT5ba6jJ+xagf8Apkx+6/rG3PpuoA7yiiigAooooAKKKKACiiigAooooAKKKKACiiigAqG7tbW7QR3VvDOgOQsqBgD64NTUUAUP7F0b/oE2H/gMn+FH9i6N/wBAmw/8Bk/wq/RTuxWRQ/sXRv8AoE2H/gMn+FH9i6N/0CbD/wABk/wq/RRdhZFD+xdG/wCgTYf+Ayf4Uf2Lo3/QJsP/AAGT/Cr9FF2FkUP7F0b/AKBNh/4DJ/hR/Yujf9Amw/8AAZP8Kv0UczCyKA0XR1YMuk2AIOQRbpx+lX6KKVx2CiiigAooooAKKKKACiiigAqnrOmWWsabNp+oQia3lGGU8EHsQexB5BHQ1cooTsBxsPhnxVbxiCHxZbSRJ8sbXGmb5NvbcwkG4474Gad/wj/i7/oaNN/8FB/+O12FFPTsvuQ7y7v7zyL4wr8SfDXw71XV/DmoQ6xqsUYFvbWujEuSWALf6w8AZPQ9K+adA/ax8aWOpjTvGmk29p5fyzPBYETK3vG7qP1Ffedcx42+H/grxpbtD4o8NabqeRgSSwjzV+jj5h+BqbRvey+5D55W3Z5V4B+KHh3x9CkGkfFXSLW6mG021zpX2a5XP93fKQT6EbhmvbPD+k2OiaXHYafHtiXLFidzSMers38THqTXy/8AEP8AYt8OXqyXXgbxBdaTPnKW17++h+gYfOP1rzc6T+1J8D5d9jJqWraPCOkLG/tSo9UPzJ+Qqr6WSJd3uz74or5A+H37aVoWWy+IHhaa0mVtr3WnHco9d0TnI/An6V9F+Afir8PvHUUZ8M+KdPvJnAP2ZpPLnHsY2w2fwpAdpRRRQAUUUUAFFFFABRTLiaK3heaeRIokUs7uwCqB1JJ6VxtzrWqeJnNv4dd7DSuRJqrJ88w9LdT2/wBs8egPWk2ormk7IOtkafiHxPHZ3f8AZOlW51PWGGRbo2EhB6NK/RF/U9hWfpehyfbl1jXLoalq2PkcriK2HdYU/h/3vvHuavaNpVjo9p9msYdik7pHYlnlbuzseWY+pq9Xl4jGOfuw0X4s6adG2stwooorhNwooooAKBRRQBz9xo15pd5JqnhaSO3mkbdcWEhxbXJzycD/AFb/AO0OvcGtzw54js9ZMlv5ctnqMA/0iyuBiWP39GX0YZBqSszXdFtNWEckjS215Bzb3kDbZoT7HuPVTkHuK9HD45r3auq79f8AgnNUodYHU0Vx+n+JLzSbiPT/ABb5cYdtlvqka7beY9lcf8snPoflPY9q7AcjNel0utjnuFFFFAwooooAKKKKACiiigAooooAK5T4lf8AHpov/YYt/wD2aurrlPiV/wAemi/9hi3/APZqaIn8LJaKKK4TIKKK4H41fEN/AWj6emnaW2r69rF2LPS7ENtEkh6lj2UZH500rgjvqK8T8VeNPjD4T+HfifWvFGheHLa4sbFLixu7GZpYvMMiqYpEY5yAxORxxXaX/wATfCHhvw9od54y8RWGlXWpWUVwsb7iWLKCSFUEhcnr0p8rHZncUVyPiD4meAdA0bT9Z1fxVp9tp+pKWsp9zOs4HUrtBJxkU9/iP4FTwra+KW8T2A0S6uBaw3uW8tpTnCHjKng9cY70rMLM6uisrwr4i0TxVo0es+HtRh1HT5HZEuIgdrMpww5APBFatIQVBqH/AB4XP/XF/wD0E1PUGof8eFz/ANcX/wDQTVQ+JCexa+GH/JOfDv8A2DoP/QBXR1znww/5Jz4d/wCwdB/6AK6Ou2fxM3jsgoooqSgooooAKKKKACiiigAooqnreq6bommT6nq17BZWcC7pJpnCqo/x9upoAuVwXiTx1cXWoz+HfA9vDqeqRHZdXspP2LTz3EjD78npGvPqVrJvdQ8RePyY4De+G/CrcFuYr/UFz27wREd/vkH+Gui0jTdP0jTotO0uzhs7SEYjhiXao/xPqepoAy/DXhi20m6m1S7up9W1y5GLnU7rBlcf3EA4jjHZF4+p5rfoooAKp6zpen6zpsum6rZw3lpKPnilXIOOh9iOoI5FXKKAOTsdU8QeAAI75rzxF4VQACfBlv8AT1/2wOZ4gO4+cDqG616Po+p6frGmwalpV5Be2c67opoXDKw9iKxK5S78Paloeoza54FnhsrqVt93pcxIsr455JA/1Uh/56KOf4gaAPUaK5nwX4003xK01kYptN1m1H+l6Xd4WeHnG4dnQ9nXIP6V01ABRRRQAUUUUAFFFFABRRRQAUUUUAFFFFABRRRQAUUUUAFFFFABRRRQAUUUUAFFFFABRRRQAUUUUAFFFFABRRRQAUUUUAFFFFABRRRQBwnxA+EHw58dRSDxF4VsJrhwf9KhTyZwfXemCfxzXzr4+/YuMM39ofDvxZJbyodyW2o5yp7bZUGR+I/GvsWigD4HTxT+1D8EXaPWbbUNU0iHgtdx/brbaO4lX5lH1I+len/Dz9s/wnqIitvGuh3miXB4e4tf38GfXH3wPwNfVDKrKVZQykYIIyDXl/xE+APws8cK8mpeGYLO8bJ+16f/AKPLn1O3hvxBoA6/wb448IeMrX7R4X8Rabqq4yVt5wXUf7S/eH4iuir4o8Y/sdeKtCvzqvw08YeY8Z3RRXLm2uEPoJU4P4hawLX4x/tHfB51s/G2j3Wo2EbYDarblwR6LcJ1/EmgD72rK8R6/p+h26Pdu7zynbb20K75p2/uoo5P16Dua8W+GP7RsPxF0SZ9L8NXGkXkMkcE93eyB7G3dwcFpFwT0OFIGfWvUdE0OGxuJNQuLiTUNUnH729mwWI/uoBwieij9ayr1o0Ypy67DhFzdkVDpmpeIplu/FG2O0Vt0GkRtujX0Mx/5aN7fdHv1roQAoCqAABgAdqWivGrVp1XeR2QgoLQKKKKyLCiivEP2soPFkml+HrjS4dduvDMF4z+ILfRJTHePFgbSpHO0fNnHtmrpw55ctxSdlc9uYhfvEL9TigMpJAYEjqAelfLGs6v4Ab4LeHJvDd7rfiXTW8YWqeXqmoSLc2UzH7jEc4GMhTwc9ap+Jde8VeH7z4/ar4VkEd3bahamS4MxR7aLYd0kfqwOBj3NbLDt9f6uR7Q+tKK4f4Hap4t1n4b6XqPjK0tIL+aCNont5/N8+IxqVlc9nbJyK7iueSs7Fp3QUUUUhkd1BBdW8ltcwxzQyKVeORQysD2IPWsCGPV/Ch3aYs2q6KDlrFm3XFsP+mLH76j+4efQ9q6Oit6GInRem3YznSU/Us6Lq2n6zYre6bdJcQklSRwUYdVYHlWHcHmrtcXreki2nm1/Sb6LSNQRC00z/8AHvOo7TL0I/2uGHr2r5/+L37WHiDwV4rj0e08G2E8RtY5jJcTyDzC2fmQgcxnGQcDNezSqRqx54HG04vlkfWlFfDqftv+JP4/Amkn6Xkg/pU6ftwa1/H4B08/S/f/AOJqwPtuivipP24dQ/j+H9qfpqLf/EVMn7cUv8fw8Q/TU/8A7XQB9n0V8bp+3HF/H8OXP01Uf/GqlX9uOx/i+HFx+Grr/wDGqAPsOivj9f24tM/i+Hd4Ppqq/wDxupF/bh0X+L4fagPpqSH/ANkoA+vK5T4lf8emif8AYZt/5NXzkv7cHh/+LwDqg+l9Gf8A2Wrvh79p7RPif4x8OeErPwtqGnTz6nHKJpbhHUBFYkYAzTRM/hZ9C0UUVwmIV5F+0d4c8TXk3hLxn4T07+1dQ8Lan9rewBw88TY3bfUjb0969do6GmnZjTseB/E3xT4m+I3wi8XaVZfDbxJpSf2ehja+jAknm81P3ccY5bAyc+1cZ498JeK9K8e6f4kl0rxPc6beeGrSxD6NZ29zNbSJGFeJ0mRgoJycjHXr1r6vyc9aKpTt0HzHy1faX4t8LeAfA2meH/DPidNFH2tr1v7OtrrVbVnfKJh1KRq3XgdPpWJYeB/FTfAJdFvfDGqm6fx/HcyWk9uDIbc/edlUbdvPJA2+nFfYGTS8+9HOPmILS1tbO3W3s7eG2gT7scSBFH0A4qaiioICoL/mxuB/0xf/ANBNT1BqP/IPuf8Ari//AKCaqPxIT2Pmvw9+2L4b8OaJZ+H5vBurTyadCtq8qXUYDlBtJAI6HFaA/be8Kd/BGtD/ALeYq9h+H3w0+Ht/4E0O8vfBegz3E1hFJLLJZIWdioJJOOSTW03wj+GDfe8B+Hj/ANuKf4V2z+JnRHZHgy/tu+EP4vBeuD/tvF/jUi/tt+Cz97wfro/7axf417i3wd+FjdfAPh7/AMAk/wAKjb4L/CdvvfD/AMP/APgGtSM8WX9tjwN/F4U18f8AAov8aev7a3gLv4Y8QD/v1/8AFV7E3wR+Ebdfh74f/wDAQVGfgX8Hz1+Hfh//AMBhQB5Kv7anw9/i8O+IR/wGP/4qnr+2l8OT10HxCP8AtnH/APFV6qfgR8Hj/wA070H/AMB//r0xvgH8G26/D3RPwjI/rQB5iv7aHw176N4iH/bGP/4upF/bO+GB+9pfiIf9u8f/AMXXor/s9/Blv+af6UPpvH/s1Qv+zp8F2/5kPTx9HkH/ALNQBwi/tl/Cs9bDxEP+3VP/AIupPht8QvC/xm+JGqahGupXVlpsEMukWt/GEhiccTOIwSGkDFDuOSAwxiuxf9mz4Kt/zI9qPpPKP/Zqq6z4B8M/C2LQNX8G6OmnWMGreVqKK7NmK6CwliWJOFcRH04NAHoFFFFABRRTJpYoYXmmkSKJFLO7sFVQOpJPQUAPorK8NeI9B8S2k154f1a01S3hlMMkttIHVXABK5HfkVq0AFFFFAHFfGK0tF8JXGtpHMmt2KgaTdWrbLiO4dgsaqw6hmIBU5BGcivU9NS6j062jvpVmulhQTyKuA7gDcQO2TmvOdehl1r4heFtAjYfZrWSTWb4eqw/LCv4yuD/AMAr06gAooooAKKKKACiiigAooooAKKKKACiiigAooooAKKKKACiiigAooooAKKKKACiiigAooooAKKKKACiiigAooooAKKKKACiiigAooooAKKKKACiiigAqK7t7e7t3t7qCKeFxh45UDKw9CDwalooAw9B8H+FtAtL600Xw/p1hbahIZbuGCBVSZiMZZenQVjXOj6p4XJn0FJdS0gEs+mM2ZYB6wMeo/6Zn8D2rtaKUoxkuWSug2d0c5o+qWOr2f2rT5xLGGKuMENGw6qynlWHoau1S8QeGFurw6vo1wNM1gDBmVcx3A7LMn8Y9+o7GqOla4z3w0jWbX+zNWx8sLNmO4A6tC/8Y9uo7ivKxGDdP3oar8V/Xc6ada+ktzboooriNwriviT4d8bavdafqHgnxuPDl1aq6Swz2YuLe5VsYLKejLjgj1rtaKcZOLuJq54QP2fpI/BkWlL4nFxq0/iWHX9Tvprbas8iE5REU/KOeK3Z/g6bx/ifHe60ot/HBQx+VCd9ptXAzk4bnB7cV61RWnt59yeRHI/CTw74i8KeC7XQvEniCDW7i0AignhtfJVIVUKiY7kAdT6111FFZt3dykrBRRRSGFZuu61Z6QkazeZNdTkrbWkC7pp29FX+ZPA7mqN1rV3qV5LpXheGO7uYyVuL2TP2a0PoSPvv/sD8SK2/Dfhuz0eSS7eSS+1Ocfv76fBkf/ZHZF9FHFejh8C371XRduv/AADnqV+kTLsPDd7rE8eoeLPLMaNvt9KjbdDH6GU/8tX/APHR2B610lzpmm3Lh7nT7SZwAu6SFWOPTkVbor0lZJJbHOZraBoLfe0XTT9bVP8ACmHw14cb72gaUfrZx/4Vq0UAY7eFfC7fe8N6OfrYx/8AxNRt4O8It97wtoh+thF/8TW5RQBz7eCPBjfe8JaCfrp8X/xNRnwD4Gbr4N8Pn/uHRf8AxNdJRQBzDfDvwC33vBfh4/8AcOi/+JqNvhr8PW+94H8On/uHRf8AxNdXRQByDfC/4cN97wL4cP8A3Dov8K5/xd4D8FaDPoWpaL4U0bTr1dXgVZ7azSNwCGyAQM816fXJ/Ev/AI9NE/7DNv8AyamtyZ/CyavNf2jvGmreCfh19r0Dy11jUL2HT7OSRcrE8h5fHsBx716VXFfGnwHH8RfAs/h/7abC7WZLmyugu7yZkOVJHp1Brija+pktzjpPAvjHwj4Y1rWbr4n67rX/ABI7w31reAFDN5LFXhI5j2t+lc38B/jFcW/hnwH4c8Q+G9eSLVl+xW2vXThormcE8DJ3EdBuNddp/h341appl9pXi7xD4XNjJpdxaBbK3fzLqR4iiPIzD5QCQTt61Qg+E3iCPwh8KtIN5p5n8Iaglzfne22RRniPjk898VenUq6L/jL4z3nhPWZU1j4d+IINCivVs21dnjEZLNtDhM5Kk9KTxl8bDofjDXPDGm+Btb1+60e2ju5pLNl2CFk3M7E/dwMcc5rzrxd+z7471jVtYZtS8M38d3qv2+HUr1Zjfqm8MIQ3KooHYV6nY/D3WIPiL478RNdWn2XxDosNhaoGO9JEj2kvxgDPpmi0QtExvD37QOm6vq3hxW8H6/Y6L4huBaWWrXKqInuD1QAEkgHjd+NcV4b+Kus+DfF3xRlufDXiLxLp1lrrSTTwSgw6fAMjHzHj/dHpXVW/wf8AEUfw8+GXh1r3TvtPhXWUvr1t7bJEDMSE45PPfFZ2s/Cf4ppd+O7fw74g8O22leMdQkkuUuInaWGFuNysBjcQWBH60/dDQ63xJ8bNNtrnSLHwr4d1PxXf6npq6otvZsqeTbN0Zy3frx7VT1H4/aLF4Z8K65p3h3VtT/4SOee1htINvnxXEWAYyvcliBkH3rm/GH7P97Hqehal4VXw7qh0/RotKuLTxBAzxSeX92VSvIbrW5a/CfXI3+G8oTw7Yt4b1O4vdQg06JoYGEmMCJcHJ45zilaIWieteGr+71TQbPUL/SrjSbqeIPLZTsDJA391iOCas6j/AMg+5/64v/6CanFQaj/yD7n/AK4v/wCgmph8SM3sWvhd/wAk48O/9g2D/wBAFdJXN/C7/knHh3/sGwf+gCukrtn8TOiOyCiiipGFFFFABRRRQAUUUUAFY/jXRI/EnhHVdCkbaL61eFX/ALjEfK31BwfwrYooA888A6tJrXg7TNQuCPtRh8q6A/hnjJSQf99q1btcr4fjj0P4h+KPDSgpFcSJrVop6bZsrKB9JUJP++K6qgAqlrmj6Zr+mS6RrFnHe2NwVE0EmdsgDAgHHUZA471drL8V6FZ+JfD93oeoS3cVtdKFke1mMUoAIPyuOR0oA8h/Y6hit/CvjCCCNIoo/FV2iIgwFACgADsK9yrz34a/B/wh8PdZm1Xw7JrCzTRvHIlzftLG24glip43fKOetehUAFFFYvjnWf8AhH/CGqawqGSW3t2MEY6ySn5Y1HuWKigBnwphTVPEfinxdv8AMSe7XS7M9hBbZDEfWVpP++RXodYXw/0NfDfgvSdEUfPa2yrKf70pGXb8WLH8a3aACiiigAooooAKKKKACiiigAooooAKKKKACiiigAooooAKKKKACiiigAooooAKKKKACiiigAooooAKKKKACiiigAooooAKKKKACiiigAooooAKKKKACiiigAooooAKoa7o+na3Ymz1K3WaPO5Gzh427MrDlWHqKv0U07A1c4aWfVvCreXrLS6lo2cJqSpmW3HpOo6j/poB9QOtdBBLFPAk8EiSxSKGR0YFWB6EEda2GAZSrAEHgg965C+8N3uizSX/AIT2eU7b7jSZG2wyepiP/LJ/b7p9B1rir4ONT3oaP8P+B+RpCq46PVG1RWboWtWerxyCDzIbmAhbm1mXZNA3oy/yPQ9jWlXlSjKD5ZKzOtNNXQUUUVIwoorI1rXYrG5j0+1t5NR1WYZisoCN2P77noif7R/DNXTpyqS5Yq7JlJRV2X9SvrPTbKS8v7mO3t4x80jnAHt7n2rGgtNX8WfNcLc6NoR/5Z/cu7se/eJD6fePtV7RvDE0l7FrHiaeO/1BOYIEB+zWn+4p+83+2efTFdTXr0MLCjq9ZfgvT/M5J1JT8kV9NsbPTbKKysLaK2tohhI41woFWKKK6SAooooAKKKKACiiigAooooAKKKKACuT+Jf/AB6aJ/2Gbf8Ak1dZXKfE/EejWF452xWuqW0sjHoq79pJ9vmpx3In8LJaKO9FcJkFFFFABRRRQAUUUUAFFFFABVfUf+Qfc/8AXF//AEE1Yqjr9wlroV/cyHCxW0jH8FNVD4kJ7Gh8Lv8AknHh3/sGwf8AoArpKxfAlnJp/gvRbGUESQWMKMD2IQZrartl8TOiOyCiiipGFFFFABRRRQAUUUUAFFFFAHnvxVRtL8R+FvFSRjy4rttLvW9IbnAVj7CVY/8Avo1uVZ+IGht4l8FatoccgimurZlgk/55yjmNvwYKfwrnPBWtDXPCemarKyJPcW6mdNw+SUfLIv4MGFAG1RTfMj/56J/30KPMj/56J/30KAHUU3zI/wDnon/fQo8yP/non/fQoAdXLeKI5NY8a+FfDUY3Qm6bVb3uPKt8FAfrK0f/AHya6fzI/wDnon/fQrE+GUS6t4z8U+KfMEkSSpo9kR0CQfNKR9ZXYf8AAKAPQ6KKKACiiigAooooAKKKKACiiigAooooAKKKKACiiigAooooAKKKKACiiigAooooAKKKKACiiigAooooAKKKKACiiigAooooAKKKKACiiigAooooAKKKKACiiigAooooAKKKKACiiigDD8SeG7TWJI7yOWSw1OAfuL6DiRf9luzp6qePpWNaa1d6fex6T4ohjtLqQhbe7jz9muz6KT9x/wDYb8Ca7Wq+pWNnqVlJZX9tFc28ow8ci5BrOrShVVp/eOMnB3iUaRiFUsxAAGST0Arnri11rwmC1ul3rmiDAES/PeWo9s/61Pr8w96fbaJqfiZluPEaPY6Xw0elK/zy+9ww6/7g49c1wRy+fNZvTv8A8A3eIVttRi6lqXiOZrXwwRFZg7ZtXkTMY55WFT/rG/2vuj36V0nhzQdP0K2aKzR3llO6e5mbfNO3952PJ/kO1aMMUUMKQwxpHGgCoiLhVA6AAdKfXowhGnHlgtDnbcneQUUUVQBRRRQAUUUUAFFFFABRRRQAUUUUAFFFFABVTWNPtdW0u5029jElvcxmORfY/wBat0U07aged6bqE+k3SeH/ABFIIr1Pktbp+I75B0ZT034+8vXPI4rerd1LT7HUrRrTULSC6gbrHKgZT+Brmn+H2iBj9ku9bsU/5522pzKg+g3HFRKlCTvexi4SWxY5o5qt/wAK/wBP/wCg74m/8G0v+NH/AAr/AE//AKD3if8A8G0v+NT7CP8AN+AuWXYs80c1W/4V/p//AEHvE/8A4Npf8aP+Ff6f/wBB7xP/AODaX/Gj2Ef5vwDll2LPNHNVv+Ff6f8A9B7xP/4Npf8AGj/hX+n/APQe8T/+DaX/ABo9hH+b8A5ZdizzRzVb/hX+n/8AQe8T/wDg2l/xo/4V/p//AEHvE/8A4Npf8aPYR/m/AOWXYsOyohd2CqBkknAArBgU+NL+K0swW0CCUSXl2OEumU5EMf8AeXIBZunGOcmtq28AeHkkEl4t/qhHRb+9knT/AL5Y7T+IrqYY44YlihjSONRhVUYCj0A7VcIRg7p3Y1Tb3HUUUUzYKKKKACiiigAooooAKKKKACiiigArlrr4c+A7q5lubjwfoks0zmSR2s0JdicknjqTXU0UAcl/wrP4e/8AQl6F/wCASf4Uf8Kz+Hv/AEJehf8AgEn+FdbRQByX/Cs/h7/0Jehf+ASf4Uf8Kz+Hv/Ql6F/4BJ/hXW0UAcl/wrP4e/8AQl6F/wCASf4V0OjaXpui6dHp2k2NtY2cWfLgt4wiLk5OAOOSSa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B//Z">
            <a:extLst>
              <a:ext uri="{FF2B5EF4-FFF2-40B4-BE49-F238E27FC236}">
                <a16:creationId xmlns:a16="http://schemas.microsoft.com/office/drawing/2014/main" id="{1876E805-113B-4E09-A212-5AB6C2EF17E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AutoShape 10" descr="data:image/jpg;base64,%20/9j/4AAQSkZJRgABAQEAYABgAAD/2wBDAAUDBAQEAwUEBAQFBQUGBwwIBwcHBw8LCwkMEQ8SEhEPERETFhwXExQaFRERGCEYGh0dHx8fExciJCIeJBweHx7/2wBDAQUFBQcGBw4ICA4eFBEUHh4eHh4eHh4eHh4eHh4eHh4eHh4eHh4eHh4eHh4eHh4eHh4eHh4eHh4eHh4eHh4eHh7/wAARCAFKA0Q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82+MXxUh+HuqaLZf2RLqQvH86/dJNosbMOkbTtxzhpFGPrzQB6TRWbruv6HoVil9rWr2OnWrkKkt1OsasT0AJPNV9U8XeFtLs7S81LxFpVpbXoBtZZrtEWYHuhJ+YfSgDaorJ13xN4c0FYG1rXdN00XB/c/arlI/M/3dx5rB8WfFDwd4X8U6N4e1jVra3n1aKSaKVpkWKJFXIZyWGA3RSAckGgDtKKRSGUMpBBGQR3paACiiigAooooAKKKKACiiigAorn/AIj+Iz4Q8B614nFp9rOmWj3Ag37fM2jpnnFZfgzxB4vvLc6l4u0PRNE0o2q3CXEOqGUjIBwwZFCjB65oA7SiueTxdoup+H9T1LwzrGkau1jC7ny75PKVwpIEjjOwcdT0HNY+meN7ufxfoWh3drYRxaj4ffVp54bnzUjZWjG1H6MmHJ3ewoA7mis4a9opsbG+GrWJtb90js5vPXZcO33VQ5wxPYDrULeJ/Da6tHpDa9pg1GSVoUtTdJ5rSKASoXOcgEHHvQBr0VkWHijw3f6zNo1jr+mXOpQ5821iukaVMdcqDnirup6lp2lxRy6lfW1nHJIIkeeUIGc5IUE9+Dx7UAWqK5z/AITzwT/Zf9qf8JdoX2HzvI+0fb4/L8z+5uzjPtWlrOvaJo2mDU9X1ewsLE4xcXFwscZz0wxODmgDRorOt9d0W40Q65b6vYS6WELm8S4UwhR1O/OMfjXL6F8Q7HXfiWPDei3Gnajph0X+0Rf2twJMuJvLKfLxjHPrQB3NFZGl+KPDeq6pPpema/pl7fW+fOt4LpHkTHXKg5rXoAKKKKACiiigAoorz7xp408T2PxDtPBvhbw7p+qXU2ltqUkt5fm3VEEvl7RhGyc0Aeg0Vzcni3TdF02xPjTVNF0HUrhAXt5L9dobPRWbaWHvgVJqWvXNv4r0rS7dNNls720nuGke9Cz/ACBSvlxYzIp3csDxx60AdBRXHfDLxvB4o8G6Dq+pNZ6ff6wsxgtBNy5jdgwQHlsBcn0rem8QaFCt60usWEa2EqxXha4UC3dsbVfn5SdwwD6igDTorDPjDwmNJn1c+JNI/s+CYwS3X2xPKSQdULZxu9utaelajYarYRX+mXtve2kozHNBIHRh7EcGgCzRXnWreP8AXb3xdqXhvwJ4Xh12XR9q6pd3V8LWCGVl3CFTtYu+0gnjAyMmuh/4TDTdM0Gxv/GNxY+F7q5X57W+vYwUfPKhs4b6j1oA6SiqQ1bSy9ig1G0LagCbMCZT9owu47OfmwvPHamSa5o0a6g0mrWSLppAvi06gWxKhh5nPy8EHnsaANCisiw8T+G7/RZdbs9e0240yIkSXcdyhhQjrls4FT6Drmja/ZG90PVbLUrYMVMtrOsihvQlT1oA0KKKKACiiigAooooAKKKhv5/stjcXW3d5MTSbc9cDOKAJqK88+BPxLHxL8Ly6lc6V/Y9/A0ZlszN5mIpY1kikBwMhkb06gjtVT4b/FmDxp8QPE3h6HSvsunaPGJbfUXmBW7QSPG7hcfKoeN8HPOKAPTqKxtF8U+HNdluYdD17S9Tnth+9jtrpJCn+9tJwPes/QPGNjJ4X0/VfEmoaHpc94krqsepJLCwQnJSQ4DYABOOlAHU0VxnjH4neDvDPgSTxnNq9rfaUHEcT2c8cnnuWxtQ7gCRySM9Aa1v+Ey8Jjw/H4gbxHpSaVI21LxrtBEzdMBs4Jz2oA3aKzT4g0IabbakdZ08WV0wW3uPtCeXKSCQFbOCcA/kabo3iTw/rVhNqGka3p1/aQErNPb3KOkZHUMQcD8aANSisfQ/FPhrXRc/2Lr+maj9l/1/2a6STyv97B4pmneL/Cmo6lDpun+JNIur2aITRW8N5G8joRncFByRigDborJvfE/hyx1qHRLzXtMt9Tnx5VpLdIsz56YQnJpL7xR4bsdZh0W91/TLbUpseXaS3SLK+emFJzzQBr0VmeKJ9cttIeXw7p9nqGoBl2QXVyYIyM8kuFbHHtXnngH4ieMtfvdSm1bwzoOkaPpGpTafqV42sEmJ4lBZlBjAK/MvJI70AerUVlaH4l8Pa5ZzXmja5p2oW0BImltrlJFjOM/MQeOPWuX8c/ErSNM+Hes+KfC9/pevPpjQo8cN0HQM8qJhihOOGJ/CgDvaKpQarps2pyaVHfWzajFCs8tqsoMsaNwGK9QCehq7QAUUUUAFFFFABRRRQAUVwXxf8W+LPBmiXviDSPDmm6rpOn2T3V28+oNBKNmSVVQjA8D1FO8O+N7230VdW+ISeHvC9tcpG9k39rB/NDLk53qmCMjpnrQB3dFZV/4k8P6fosetX2uadbaZKAY7uS5RYnB6YYnBz7Vi3njOP/hNfC2j6b9kvdP122u7gXkcu4AQqhXaRwQdx/KgDr6Kp6Rqmm6vaG70q/tr63DtH5tvKHTcpwwyOMg8GvPPAvjvxx4uvZ7qw8JaTHoUGqz2ElzJqrCfbDIUZxH5eM8ZA3UAen0Vj2/inw1casukwa/pcuoO0irapdIZS0f+sG3Ocrg59MUuj+KPDes309hpOvaZf3dv/robe6SR4+3IByKANeisOXxj4Tj1K402TxNo6XtsVE9ubyMSRliAAy5yMkgfUitBNU02S4vbdL+2aaxCm7jEoLQAruG8fw5HPPagC5RWRfeJ/DljokOt3mvabb6ZOqtDdyXKLFIG5BVicHPtUj+INBTTrbUm1nT1srpgtvcG5QRysQSArZwTgH8jQBp0Vm6F4g0PXrKS90TWLDUraNikktrcLIiMOoJU8GqVp428H3cM81r4p0WeO3lSGZo72NhHI7bVViDwSxwPU0Ab9FVZtS0+HU4NMlvbdL64RpIbdpAJJFXG5lXqQMjJ96tUAFFFFABRRRQAUUUUAFFFFABRRRQAV4FNovi74heKviDqlha6E2jXkTeGbf8AtUTK/kxKfNeMKPutK7HPcoPSvfaAABwAKAPmNtUju/Afg7VfEuvyaD4y8MC803fe6W95aXMsWIpEkUL1dVQqwIY5OM1a8Y62E0/w347nSHw94vPh3YPD15o8lzaXsbPv+zphcxyFlGMHcAwyMV9I7F/ur1z070FVJGQDjpx0oA+ZvF51KL4rajrHirWovCNpq+hWK2IvNDXUIlHlnz7YORiNhISSv8WQe1XbnT9E8FyfCDVLy8uNT8O6dBfWkmpz6c+797HmEPHtLIMgqoI44r6MZVYYZQR7ilIDDBAI96AERlZFZfukZHHaloooAKKKKACiiigAooooAKKKKAOC/aHjkm+B/jGKKN5HbSpgqopLE47AVzWuaRc+C/g5fa3ZTa14mnOm24NhrE73tvGCU3P5OMnYCWwOSFxXsRAIwRkUUAfLnhiWXUPF3j+6t9ZGv283gV41vbbRTYQyOGk+RVAxIRnGeTzjtXV+E7C6uPEHge3WCRWf4cyQZZCArnyAAfQ+1e7hVAwFAGMdKAo44HHA4oA+WtI8QWV74F+E/g2C11M61ofiCxj1SBrCVRZmMuh8xiu0ZJGME5HNeheDPDaz6n8W9SsdNiTxBc6tPDZXkkeJARaR+VtYjgBmPI7k17HtXJ+UcnPSlAAzgAZ60AfLHwk0mwvJPAml6l42a11jRLmOU6MnhnyLqK4VGWRJJgMlTlsuThuDXrH7Q+l2+s6b4P0+8she2kviywFxCyFlZPnzuH931zxXp21dxbaMnqcc0EA4yM80AeIWHg/QJfjv8QWl8N2TQHw9ZrGGtB5eXWUPtGNuSFUHHPArkPCVxb6Tpnwi8ReOrO4m8O2nh65tRLNaPNHZ3paMRPIoBK/uldQxHH419P4Gc4GaQqpXaVG30xxQB8uapp32rwv4p8Rafot4fAV34x0/UDYpaOn2iyjCi6lWDAby2kAbGPmCk45rXBsPEnxN8Xaj8NtPkt/t/gWe2tL6Kza2iubsOQpQsBkrlRux274r6N7Y7UgVVxhQPoKAPmT4RabpOoax4Ghk8bFNS0Mhk0eLwz9kuIXERWSKaQDheuSeGIB5r6cpAqhiwUAnqcUtABRRRQAUUUUAFePeM/Dr+IP2jdPjbUdb0yKPwrIftGm3LQMW+1D5S4HI74r2GjAznAz60AfPfxf1CbS/Edz4Xn1CPS7aLQUFvqV5oh1S81hmMgaAORjK4GR1JfPSovhpb3n9qfBhpoLgNF4NvUkLo2UbZAAGz0PHQ19EEAkEgEjp7UBV4+UcdOOlAHzL4YlXw34S+DfizWIbqDStLn1GC+mFu7m2MwkWNnVQSFJGM47iqOrvH4l8G/GW9t7C+ax1PX9OaFZrV4nmixApYKQGwQDz6V9UbV27dox6Y4oKqc/KOevFAHgvx20RtE8XeB76wmg8O+GLBLqKW5j0hby3tbhkQRM8OMDKqyiQj5fbNdd+z5penWGi63eaX4mfX4dR1R7l5V042cKSFFDCKPGNpwCSOCc+9emkAjBAI9KAABgAAUAeH+FPEWnfC7x7450zxp9qsLfWdYbV9Mv/ALLJLDcxyRopTcinDqykbTz0xVb4l+NUv/E+iPF5Ph3Sr/SJJ4dY1Dw493cTt5m37IsbD5CR8+Dy2RgV7wyqw+ZQfqKCAcZAODkZoA+Z/CFwfDXw9+DHibW4b2HTdIur6K+l+yOWthLHNHGzoASi5wOnGRUkT6B4os/ivf6tPq+kaPf69p81tff2dIWQpBCY5miKktFuQE7hgg84r6UKqV2lQR6Yo2jngc9eOtAHy74p1HxN4q+GlrdNHB/ZejeLoDc6tp+jMYb60RM/ajaN99VdgGHIO3I4FeifAmx0ybxV4i8Raf42XxHLeW9tDcrb6P8AYbdShfY3A2u+CQSOQMZ7V6+AAMAAD0pFVVGFUAegFAC0UUUAFFFFABRRRQAVT10E6HfgAkm2kwB/umrlFAHylbL4m8F+BPAGv+FtMupr7xT4UtfDlwiIf9Hu/LBtrhx22hpAc+1dTZ6PL4H8Z+L7HR9BOsR6V8P7OG3tGiJS9kR59yHj5ixySOp3e9fQe1cAYGB0pcDOcDPrQB80/C7UJNW+M/hy+i1qDVV/4R+9WcWWgGwgs2PkkQbsfOQQflPK496b4N0ODUtK+BtpqulfabeG41OWSKeElUYK5QsCMdcEZ719LhVHRQPwoCrx8o46cdKAPm3x5oL/APCEfGvTtM0ljCmqW13BbQ25Iz5MDytGoHU4Ynb71J8TNRtNV8V+BvF+ka0uleE47G7gTUm0Q3VvbXRKffiYDYWUMocjsRnmvo/A54HPWk2rt27Rt9McUAfOD+F9Hn8BeHbKHUz4p0vU/H0N3Of7NNrAAwO9EixgR7hnj5SWNa/iGKTwz49+KV5ofhaHUE/4RmxnXThbfuLqQGZTlFGGwoGQOSBiveNq4AwMDpx0pcDOcDPrQB80fDi8k1L4vi8g1yLW4T4Ru45JrPQjYW8T+ZERCDj94Rz15X8TU/hbwzp2n/Bz4RX1nokdtqKa/YTSzJb7ZgZGcSFmxuwQcHPGMV9HhVHRQPwo2rgDaMDpxQB4H4Vv/CGi+KvGOh+PNFkuvEWo+JXuLYSaW9w15AxT7M0TBSNqAeo24J4ri9V0eObU/HHhrxh4z/4R+41TXbmYQSeG/tM9zAzg28kNwAWbCBAMfcK4r6w2rkNtGR0OKCqkhioJHQ46UAQ6fGYbC3haV5ikSqZHGGfA6n3NeBRX+o6D8NPiZf2+gxalJ/wmdwfKu7Rp4kjZoAZzGBmRUGXwOu2voSkwADwOaAPmPwnHpus+IPiH/a2vXesaHe+F4IbnUtO0NrION8obykUHzCoP3gD6dqi1nVtQ1b4MeOtBtZLTW7Cwh09LLXbHSmtTdEzpmNo8YZ4woJK/L83QHNfUIVV+6oH0FG1du3aNvpjigDyX4Ewv4f17xH4V8Q2jt4rNwb6fV3Qn+2bdziOYN0XaPkMY4XHAwa9bpMDO7Az60tABRRRQAUUUUAFFFFAHCftCRyTfA7xpFDG8kjaNchURSSTsPAA61w3xG1y40uTwVp8z2Oh2c2jF21260Y37RyKsYFqi4wrODnnrtwK90IBGCMikKqQAVBA9qAPlzw5a6bH8FvCF9q3iCfw/qGm61qU+mXV3ozSW5YzSqUmgxiMMjfKOCP4at+NYPGXj7R/AUmm2f9gazd6TquYIYmhikUbP3eThoVmUcHhlD19MFVIwVBHpilwM5wM0Acl8INU0XVfh/pr6FpLaLbWyG1fTWiMbWcsfyvER3IPfv17159+z34SaTT9R1ubWfElo6eJdRcWKXrR2rgXD4zFjBB/WvbgAM4AGaAAOgAoA+fvDvhW4ufhb8V59C0oJ4lv9a1lLecR7Z3O5lUIx5GVJAxxz71mfCTTtL1TxL4Okh8dh9S0W2kEWkweGvsUkWYdjxTuBwAecN1IBFfSgAHQAUgVQSQoBPU460AfH93d+Frb4NaR4XvtDnXxvYeI7d9QZ9NcSwzG/XfO8xXG11IAO47twH09I1rxBY+D/AIlfE211q31FZvEFjayaSsFlJN9sK2zRMiFQQWDdQcYBzXr3jPwzpvizRf7J1Qzrb/aILgmFwrF4ZFkTnB43KM+1bZAJBwMjoaAPlV7TUtP0T4R6tqGqNoOkWvhc2xvZ9I+3RWt2yx4Dxn/VlkDAOfQjvWyfCujS+BfCthBqR8U6VqPj+K7nZtNNtBhw5dVixgRbhn+6cmvpAqpXaVBHpjijauAMDA6cdKAPnf4i+HtR/t/4u6b4R02WCa98Mae8cNmnliZw0ocLjA3mNdvHPSt60tvhx8S/Aep+GPCemrbXp0RYfPTTHtzaspBjjZ2QfOsiqdvJGCa9rwM5wM+tNeMNG6KSm4H5l4IJ7/WgDxP9njUNR8eeINQ+IWsW0kEllYQ+H7eOUcrNF814w+suBn0Svbqw/AvhfS/Bvhm30DSPPa2hZ3Mk775ZXdy7u7YGWLMSeK3KACiiigAooooAKKKKACjvRRQAUUUUAFFFFABRRRQAUUUUAFFFFABRRRQAUUUUAFFFFABRRRQAUUUUAFFFFABRRRQAUUUUAFFFFABRRRQAUUUUAFFFFABRRRQAUUUUAFFFFABRRWN4k8R2Oi+XAyyXd/PkW1lAN0sp9cfwr6scAU0gbNS7uLe0t3uLqeKCFBl5JGCqo9yelSRusiB0YMrDKsDkEetcRFot5rNwmoeLGiuCpDQaah3W1ufU5/1r/wC0eB2FJHY6p4YkM3h1TeaZnMmku+NnPJgY/d/3Dwe2KwWJoufJza/gVyTS5rHc0Vm+H9c07XbM3GnzFtjbJYnXbJC/dXU8qfrWlW7TW5NwooopAFFFFABRRRQAUUUUAFFFFABRRRQAUUUUAFFFNkdY42kkYKigszE4AA70AOrNvPEGhWUhjvNa063cdVluUUj8Ca42e5vvGTNcSXFxZ+HiSLe3iYxyXq/89JGHIQ9lGMjk+lXrHRdHsYhFZ6XZQIOgWFf54yaUpwg7PcydR9Dc/wCEs8Lf9DJo/wD4Gx/40f8ACWeFv+hk0f8A8DY/8azPsdn/AM+lv/36X/Cj7HZ/8+lv/wB+l/wqfbQ7MXPI0/8AhLPC3/QyaP8A+Bsf+NH/AAlnhb/oZNH/APA2P/Gsz7HZ/wDPpb/9+l/wo+x2f/Ppb/8Afpf8KPbQ7MOeRp/8JZ4W/wChk0f/AMDY/wDGj/hLPC3/AEMmj/8AgbH/AI1mfY7P/n0t/wDv0v8AhR9js/8An0t/+/S/4Ue2h2Yc8jT/AOEs8Lf9DJo//gbH/jR/wlnhb/oZNH/8DY/8azPsdn/z6W//AH6X/Cj7HZ/8+lv/AN+l/wAKPbQ7MOeR0Gn6vpWoNtsNTsrs4ziGdXP6GrtcJqHh7RL/AAbjTLcSKcpLGvlyIfVXXBB/GpdB1bUNE1W30fWrp76xu28uxv5MeYknUQynuSM7W74weetxlGfw7jVTXU7aiiig1CiiigAooooAKKKKACiiigAooooAKKKKACiiigAooooAKKKKACiiigAooooAKKKKACiiigAooooAKKKKACiiigAooooAKKKKACiiigAooooAKKKKACiiigAooooAKKKKACiiigAooooAKKKKACiiigAooooAKKKKACiiigAooooAKKKKACiiigAoJwM1R1vVtP0Wwe+1K5S3hXgE8lmPRVA5Zj2A5rlJ49X8V5OprNpWiH7tirbbi6X1mYfcX/YHPqe1TOcaceabsgSbdkWtS8TXeqXEmm+E1jlKMUuNTkGbeA9wn/PV/YcDue1S6FolppRlmVpbm+uMG5vJzummI9T2HoowB6VoWtvBa28dtbQxwwxqFSNFCqo9ABUleTiMXKr7q0j/AFudVOio6vcKKKK5DYxtZ0Jbq7XVNOuX03V41CpdxDO9Qc7JF6OvseR2IqxofihmvU0fxDbppuqNkRENmC6A7xOe/wDsH5h79a0aq6rp9lqlk9lqFulxA/VWHQ9iD1BHqORXdh8a4LlnqvxX9djCpRvrHc6CiuJg1DV/Cnyag1xrGhjpcgb7q0Ho4HMiD+8PmHcHrXX2N5a31nFeWVxFcW8q7o5I2DKw9iK9SLUlzRd0c2qdmT0UUUwCiiigAooooAKKKKACiiigAooooAK5b4nsz+GBp6O0f9o3UNmzKcEI7jfj/gIYfjXU1ynxL/49NE/7DNv/ACaqi7O5E/hY9I0jjWONQiKAqqOgA6ClFLRXAZBRRRQAUUUUAFFFFABRRRQAVl+LLNb7w5fwY+cQtJE3dZE+ZGHuGANalQah/wAeFz/1xf8A9BNXTbU00J7G74av/wC1PD2nan3urWOY49WUE1oVznwv/wCSc+Hf+wdB/wCgCujrrluzoWwUUUUhhRRRQAUUUUAFFFFABRRRQAUUVHdXFvaW0lzdTRwQRKXkkkYKqKOpJPAFAElcZ4x8dR6dqDeH/Dtn/bniMpu+yo+2K1U9HuJOka+3LHsO9Yl94o1vxwzWvhCWXSfD5ysuutHia5GeVtUYcA/89WGP7oPWtbw5oWl+HtP+w6TaiGIsZJGLFpJnPV3c8ux7kmgDKsfGPiPwpJt+IAtr3S5SCNa0+ApHasx+5PFyVQZwJBkY+9jrXpNtNDcwR3FvNHNDIoZJI2DKwPQgjgiucZVZSrKGUjBBGQR6GuRi0nWvBc733ghFutMZi9z4fmk2x8nJa2c/6puvyH5D/s9aAPVaKw/B3irR/FVi9xpkzrNC3l3VpOhjuLaTukiHlT+h6gkVuUAFFFFABRRRQAUUUUAFFFFABRRRQAUUUUAFFFFABRRRQAUUUUAFFFFABRRRQAUUUUAFFFFABRRRQAUUUUAFFFFABRRRQAUUUUAFFFFABRRRQAUUUUAFFFFABRRRQAUUUy4mit4XmnkSKJAWd3bCqPUk0APrnfEXidLK6/srSrY6nrDLkW6NhIR/elfoi/qewrMuda1TxOTB4deTT9KyRJqjJiSYdxAp7f8ATQ8egPWtLRdKsNHtDbWMHlqzF5GJLPIx6s7HlifU1z18TCjpu/63/wAi4U3P0KGmaHJ/aA1jXboanqoz5blcQ2wPVYk/h/3jlj69q3KKK8epVlUlzSZ1xgoqyCiiioKCiiigAooooAK5+40a80q8k1TwtJHBLIS9xp8hxbXR9f8Apm/+0OPUGugorWjXnRd4sicFNakfhvxHZ60ZLfy5LPUYP+Piyn4ljPr/ALS+jDINbVctrui2mrCKSRpLe8gyba7gbbNCfVT6eoOQe4qGw8SXmkTx6d4s8tA7BLfVI12wTHsJB/yyf6/Kex7V7NCvCv8ADo+3+RyTg4b7HX0UAggEcg0VqSFFFFABRRRQAUUUUAFFFFABXKfEv/j00T/sM2/8mrq65T4l/wDHpon/AGGbf+TU0RU+FktFFFcJkFIzKqszsqqoyWY4AHqTS14h+1LLcalqXgLwNJqE1ho/iPWPJ1OSJ9hkjXbiMt2BJ/lTSuxpXPX5Nc0WPT59Rk1jT1srf/XXH2lPLj/3mzgfjV2GSOaFJoZFkjdQyOpyGB6EHuK8F+OPwy8F+B/gl401Dwto/wDZclxpsdvMkcrlHUTIQSpJ+b3rG8X/ABi8QaFfaN4M8M3Wj6U1l4ftbq6vdSs57kSu0SlYkSJWI4x8x4qlG+w7XPpaivANR+Lviq++GPhjxHa6l4Z8KX2omdLyPVreeV3eNto8iFFLsDySccZFZifHLxlc/A+z8WWdppL64vidNFmHlMLe4U5+ZVPKZ469PSjkYcrPpKisTwTH4oj8Owr4yuNMuNY3MZn09GSHaT8oAbnIGAT3rbqCQqvqP/IPuf8Ari//AKCasVX1H/kH3P8A1xf/ANBNVD4kJ7Fv4Yf8k58O/wDYOg/9AFdHXOfDD/knPh3/ALB0H/oAro67Z/EzojsgoooqRhRRRQAUUUUAFFFFABRRXD+L/Gl5HrE3hbwjYrf65GiNdTT5W009XGVaVurMRyI15Pcgc0AbXjLxZo/hW0il1KSSS4uG8u0srdPMuLp/7saDk+54A7kVxD6PrPjG6j1HxyqQ2CMHtfD0Um+FCDlXuGH+uf8A2fuD0J5q/wCGvDEGl3kur393Nq+vXC7bjUrkDeVznZGo4jjHZF/HJ5roKAEACgKoAAGAAMACloooAKKKKAOe8SeGItSvY9Z0y8l0bX4F2walbqCxXOfLlU8Sxn+634EHmrvhfx1KNTh8OeMrWLSNakJW2lRibTUMd4XPRvWNvmHbcOa1Kpa5pOm65pkumatZxXlpKPnjkGRnsR3BHYjkUAdnRXllvrevfD2Nv7Ylu9f8KRgn7aRvvdOT/pqOs0Y/vj5wOoPWvTrS4gu7SG6tpVlgmRZI3U5DKRkEfUUAS0UUUAFFFFABRRRQAUUUUAFFFFABRRRQAUUUUAFFFFABRRRQAUUUUAFFFFABRRRQAUUUUAFFFFABRRRQAUUUUAFFFFABRRRQAUUUUAFFFFABRRWR4l8T+HfDVq114g1zTtLhA3Frq4WPj2yeaANeivnnxx+138LdCEsWjNf+IrlMhRaw+XET/vvjj3ANeNav+1L8Y/HUzad8PfCa2JclQ1naveTjP+0RtB/4DQB9peLfE2keGLBbrVbkRmQ7YYgR5kzeij+Z6Dua43w/eWnxBabUL3VtP1CytJ/L/suxuVmghkGCPOdeJHxg4+6PfrXyvB+z7+0F8ULyHUPH2uNZR4JVtTvDI8YPULEmQv04r3H4G/DZfgONT03VNWub6w1WaNo9Q8sLbRuoIw45MbHOMklTgcis6/P7N+z3/H5Dhy83vbHtYAAAUAAcADtS0gIZQykEEZBHQilrwDvCsP4g6ldaP4D1/VrF1S7stNuLiBmUMFdIyykg8HkdK3KwfiJp93q3gDxDpdhF5t3d6ZcQQR5A3O0bBRk8Dk1ULcyuJ7GB8JvGE2qfBHRfGviu+gjkk037Xf3JURooGdzYHA4HaqvgT41+A/GWurouk3WoRXksD3FsLyyeBbqNRlmjLD5hjmvMPDPhv4pa18DZvg/rXgM6DCujtbw6w+qRSK8yMHRWjXJAYjaTk4Gah+FPw98cQeKtDutf8G6tZXehWM0Vnqd94nF3bxS+UVXy4AMhC2OM4Aro9lD3m3+KM+aWh6X4e+PHw/1zxJZ6DbSavb3F/IYrKW702SGK5cfwozDkntV5PjJ4Jf4ey+OBcXv9mRX39nvH9mP2gXG8J5fl9c5IP0rwvRPh/wDGrUvGHg6+8WaPqtw+j67HdX17c69HNA6Bj88NuMCMAemSfSuhm+EfjBvjlLYLYJ/wrqfxEniWWYSrzOsZPlbM5/1h9MVTpUr7/iJTkekeK/jr8PPDPiCfRNSvb9p7Uot7Lb2MksNmzYwsrqMKeeR2qz4u+M3gbw14gh0O6ub+9u5IIrhv7PsnuEhik+47svABBB+hrxPxX8KPH1j4v8Z29v4X1bxJoniO/ku0ax8TLYQlX6pPEQd2On0FanxJ+H/xCHiTTG+H/gyfSNRs7GztIPENrryohjRFDRXELD96FIIBxyAOvSj2VLTX8UHNI+nAQQCOhGRS1HaiZbaJbhleYIokZRgFscke2c1JXGbBUdzBDc28lvcQxzQyKVeN1DKwPYg9akqO5nhtreS4uZo4YY13PI7BVUepJ6U1e+gnbqYEEWr+FTu0lZtU0UH5tPZt09svrCx+8v8AsH8D2rlfG37Snwu8Iawmlarf6g9w0KzHyLNnCg5+VuhVgQcqRkV1UEur+Kzt0tp9K0U/ev2XbPcj0hU/dU/3z+A71j+J/wBn/wCE/iS/W/1jwstxdCMRmUXUqswGeWwwy2Sck8mvoKXtOT978X9b+f8ATOCXLze5t/WxyQ/a7+DR63+sD66c3+NPX9rj4MH/AJimqj66dJWi/wCy18E2/wCZUkX6X83/AMVUT/sqfBVv+Zcul+l/L/8AFVQFdf2tPguf+YzqQ+unSf4U9f2sPgqf+Y9fD66dL/hSN+yd8F2/5gd+v01CT/Gom/ZI+DDf8wrVB9NRegC0v7VnwUP/ADMl0Prp03/xNPX9qj4Jt/zNE4+unz//ABNZrfsh/Bo9LHWV+mot/hSL+yD8Gwcm01th6HUT/hQBsL+1F8E2/wCZtYfWxm/+JqVf2nPgo3/M4oPrZzf/ABFYEn7IHwdZSFt9cjPquoHj8xULfsd/CMnKtr49vtw/+JoA6pf2lvgo3/M7W4+ttN/8RVLVPjN8NPGmp6BofhnxVbahqMmrQukCxSKSqhiT8ygcCubl/Y2+FLfduvEMf0u1P80qKz/Zu8DfDfxT4e8VaFfazLew6pHGqXMyNHh1YHgKD+tNEz+Fnt1FFFcJiFcn8UPAOg/ETw8uj66s8fkyie1urd9k1tKOjo1dZXLfEL4geE/AVnBc+JtUW1Nw223gRGkmmPfai8n69KavfQaOOPwShuvDmtaTrfjzxTrcmq2a2X2i9nD/AGeIOr/InTJKjJPNWfFHwa0/VNT0/WNH8T674b1e00+PT5LzTpFBuoYwAokUjBIx1rofh18SvCfj6W8g8O3dy9zZBWuLe5tXglRWztO1hyDg9K7HB9DT5pId2eVa/wDBez1W08POvjPxNa6xoSSxw6us6vcypKcuHJGPpjoKgtvgToNv4HXwmmuarJbL4gXXfPl2vKZV/gJ7g9z1r0/XNV03QtLn1TWb6DT7G3AM1xcPsSME4GT25IFWbeSO4hjmhYSRyoHjZeQykZBHsRRzMLsfRQetFSSFQX+PsNxnp5L/APoJqeoNQ/5B9z/1xf8A9BNVH4kJ7Hx9pvhT9rSbT4Ljw/q2qrpEiBrFU1SFQsJ+4AC2Rxjipz4X/bNTpqmtH/uJwH+tfYfwu/5Jx4d/7BsH/oArpK7Z/Ezojsj4W/sL9tBP+Yhrp/7frc/1pP7M/bRT/l515v8At6tj/WvuqipGfCht/wBtJP49fP8A21tj/Wkz+2kn8HiA/jan+tfdlFAHwn9q/bSX/lj4gP8A2ztTS/2p+2gn/Lp4gP8A262x/pX3XRQB8KHxB+2dH10/xAf+4fAf6U3/AISz9sqPrpmvH/uEwn/2Wvu2igD4RPjr9sWPrpOun/uCRH/2SvSf2etV+J8nimXVfijDdWtzr2+yijubNbYmS2QSIwUAA5R5Bn/YxX1LXD/G2xaXwQ+tQRs13oFxHq0G37xEJzIo+sZkH40AaVFRWtxDd2sN3bOJIJ41kjYdGVhkH8jUtABRRWN401PVtI8O3F7oehya5qIKpBZJKI97McZZjwqjqT6CgDZory34U/EvX/EfjvXPBPizwxbaNq+lW6XBazvPtELIxGAT2bkfrXqVABRRRQByXxSzeaDbeGYZmiuPEN7FpqlfvCNjumI+kSvXqEEUcEEcEKBI41CIo6AAYArzjRUj1z4xuzR74fDOncMeguro9vcRJ/5Er0qgAooooAKKKKACiiigAooooAKKKKACiiigAooooAKKKKACiiigAooooAKKKKACiiigAooooAKKKKACiiigAooooAKKKKACiivIPH37SPwl8Hzy2lz4h/tO9jJV7bTYzMysDggtwoP1NAHr9Br4r8WftneINUuXsPh/4JVHfiKW8LTyk+ojTj9TXOp4b/at+L8bPqV3qmmaZMeVuphYQEHsI1wzD8DQB9feOfi38OfBcLt4g8W6bbyr/wAu8colmJ9NiZNeD+O/21fDNmGg8G+Gb7VZe0964t4vwUZY/pVDwP8AsT6fGEuPGvi6e6lzue306PYp9vMfJP5CvevA3wP+Fvg3ypNG8H6ebmMcXV0n2ibPrufOD9MUAfKEnxN/ag+LVwYvC2mX+l2L8A6da/Z4gPeaTk/gfwrV8M/se+OvEd62pfETxlFbSSHdII3a8uGPu7EKPzNfbyqqqFVQoHQAcCloA8P8Cfss/CTwyiPdaPLr90OTNqUu8Z9kXCj8jXsmkaVpmj2SWWk6faWFsgwsNtCsaD8FGKuUUAFMnijnheGaNJI3Uq6OMhgeoI70+igDirjQ9T8MsZ/Dqvf6V1fSmb54R3MDH/0WePQjpWjourWOsWn2qwm3qDtkRlKvE3dXU8qR6GukrnvEPhmO+u/7V0u4OmawoAFzGuVmA6JKnR1/UdjXPXwsK2uz/rf/ADLhUcPQt0Vh6Zrki366Pr1qNN1Uj5F3ZhufeJ/4v904YenetyvHqU5U5cslqdcZqSugoooqCgooooAKKKKACiiufn1i91a8k0zwrHHPJG2251CUZtrY9wP+ej/7I4HcitaNGdaVooidRQV2Tat4n0iwun09Lhb3VFZVGn2rCS4LMMjKA/KMc5bAA70un+GrzVriPUfFhjk2EPBpcbbreAg5DOf+Wr+5+Udh3r5M+N3wb+LHw18bXfxU8DeItS1tnkae7uYxi7iz94PGOJI+OwwB1HGa9N/Z8/ao0Hxibfw/458jQtfYiNLgnba3LfU/6tj6Hj0PavYoUI0Vdb9/8jknNzeux9KjgUUisGUMpBBGQR3pa2JCiiigAooooAKKKKACiiigArk/iX/x66J/2Gbf+TV1lcn8S/8Aj10T/sM2/wDJqaIn8LJqKKK4TIDXz54svLLRv2thqHimW1torjw55Xhy6v8A/j1iuR94EngHOc9+fcV9B1keKfDPh7xTp4sPEejWWq2ytuWO5iDhT6jPQ/Sqi7DTPnuX4ieMdW0H4s6Trd14abUNB0JZINU8Oh03F8nAkLZOPwwc1W1NE0P4ReFLzWvG3jrUNY8ZNbTBLfVUtgX8rPliVxthjwwyeSSBXvekfDrwLpGjX+j6X4V0u0sNRj8q9hihwJ0/uuepH41a1jwX4T1jw5a+HNU8P2F5pFoqLbWksW5IQowu3uMDiq5kVzI+RrybVdd+A/xP03U9d1m4tvDmp28likuqrdthjtaOSZRiVOc8YGQD2rovHN9e6Lo3w58F+HPFWtXuharby3V3cpr0cE8swVT5AumBVFXPC/hX0lpHgPwZpGmahpmmeGdMtLHUUCXlvHABHOoGAGXoeKrv8NvAMnhiPwzJ4S0p9HilM0do0AKJIerDuCfXNHOg5kcl+zLJ4oHhnWLLxHqa6jFa6iU0931OO+mjhKg+XLLHwWHvjrXrNZHhXwz4f8K6adN8N6PZ6VZlzI0VtHtVmIxuPqeOta9Q3dksKg1D/jwuf+uL/wDoJqeoNQ/48Ln/AK4v/wCgmnH4kS9iz8Lv+SceHf8AsGwf+gCukrm/hd/yTjw7/wBg2D/0AV0lds/iZ0R2QUUUVIwooooAKKKKACiiigApk8Uc8EkEyB45FKOp6EEYIp9FAHlvwtaa10G58OXQIuPD97Lppz/FEp3Qt+MTJXWVzusRSaN8YhIGAs/Eem9PS6tj/NonH/fuuioAK5T4tXul2XgLUf7b0fVtX0y4C211baZGzzmNzgsApBwO5BzXV0AkdOKAPmv9mbSprL4s+IbrwdouvaV4AnslyusQlZJLoEY2FvmIA3dSf5V9KUEk9STRQAU2WSOGJ5ZWCxopZ2PYAZJp1cp8U3mm8Lf2FaTGK7125i0uFh1USnEjD6Rhz+FAGx8E7e4k8ISeILyPZda/eS6kykcrG5AhX8IlSu5qGytobOygs7dAkMEaxxqOyqMAfkKmoAKKKKACiiigAooooAKKKKACiiigArG8UeILfQI7RprS8u5LufyIYrZAzltrN3IGMKa2a474j/8AIT8Lf9hNv/SeWtKUVKVmRNtRuh//AAm5/wChV8Q/9+Y//i6P+E3P/Qq+If8AvzH/APF0UV0+yh2MueXcP+E3P/Qq+If+/Mf/AMXR/wAJuf8AoVfEP/fmP/4uiij2UOwc8u4f8Juf+hV8Q/8AfmP/AOLo/wCE3P8A0KviH/vzH/8AF0UUeyh2Dnl3D/hNz/0KviH/AL8x/wDxdH/Cbn/oVfEP/fmP/wCLooo9lDsHPLuR3Pj+G1ga4uvDevwQJy8jQR4Qepw/SuyHIrzfxz/yKOp/9cD/ADFejr90fSsa0IxSaLpybbTFooorA1CiiigAooooAKKKKACsDxb4iGkLFZWMIvdYuwRa2oOB7yOf4Yx3P4Dmjxb4iGkLFZ2UIvdXu8i1tQcfV3P8MY7n8BzWVoWkmxaa9vLg3uq3ZDXV0wwW9EUfwovQL+J5pTmqauy6dN1HZbFJNB1iVfNvPGmvfaH+aQW0kccQY9QilCQvpyad/wAI9qH/AEOnif8A8CIv/jdb9Fcn1ur3/I6/q1LsYH/CPah/0Onif/wIi/8AjdeQN+yh8O7rXL/VdU1HXb17u4efy/OSNULHJHC88k+le/UVLxNR7saw9NbI8/8ACnwq0bwhamLwlqV/pDgfK8ccByR03ny9zD2JrvfCPiKTUJZNJ1aFLTWrZcyxKfkmTtLET1U/mp4NPrM1/SI9Uiikjme0v7ZvMtLuMfPC/wDVT0KngitqWJbdqn39jKphla8Nzs6K5zwj4ik1CWTSdWiS01q2XMsSn5Jk7SxE9UP5qeDXR10tWOVMKKKKQBRRRQAUUUUAFFFFAFLW9J0/WrBrHUrVLiFiGAbgqw6MpHKkdiOa5OZtX8J/LqLT6toi/dvQu64th6SqPvqP74GR3Heu5oPPWpnCNSPLNXQJtO6MS1uILq3jubWaOeGRdySRsGVh6gipax9S8M3el3MmpeE2jhZ2L3GmSHFvcEnkr/zzf3HB7jvUmh63aaqZYVSW1voOLizuF2zRH3HcejDIPrXk4jCSpe8tV/W51U6ylo9zUooorkNgqrquo2Wl2T3moXCW8C/xN3PYAdST2A5NUNZ1xba8XS9Ntm1LV5BlLWI4EY/vyt0Rfc8nsDVnQ/C7LeprHiC4XUdUXmIAYgtPaJD3/wBo/MfbpXdh8E5+9PRfi/67mFSslpHczrfT9Y8VYk1FbjR9EOCtqDsubsf9NCP9Wh/uj5j3I6V2FhZ2thZxWdlbxW9vEoWOKNQqqB2AFT0V6kUox5YqyObd3e4V88ftB/sv+GfHouNc8KiHQPEbAu2xcW123+2o+6x/vD8Qa+h6KYHwT8O/jP8AE/4B+IU8E/ErS72/0aJgqRztulhjHG63l6On+yTj0xX2l8PPHXhfx/oEet+FdWhv7ZwN6g4khb+66HlT9ab8RvAfhb4g6BJovirSob63IPluRiSFsfeR+qmvi34hfBz4ofs++IX8a/DfVb2/0WM5eWFcyRJ12XEQ4dP9oDH0oA++KK+ev2fP2nvDPxAEGieJ/I8P+I2wqq74trpv+mbH7rH+6fwJr6FoAKKKKACiiigAooooAK5P4l/8euif9hm3/k1dZXLfFBHXwx/aCRtJ/Z11DeMqjJKI434/4CWP4VUVd2IqfCx9FNjdJI1kjYOjgMrDoQehp1cBkFFFFABRRRQAUUUUAFFFFABUGof8eFz/ANcX/wDQTU9ZXiy8Fj4cvp/4zC0cS93kf5UUe5YgVdNNySQnsa/wu/5Jx4d/7BsH/oArpKz/AA1Yf2V4e07TeP8ARbWOE49VUCtCuyTu2dC2CiiipGFFFFABRRRQAUUUUAFFFFAHB/G+18vwlB4kiDfaPDl5HqalRyY0ysy/QxM/5CtSKSOaJJoWDxuoZGHQqRkH8q6O9toL2zms7qJZYJ42jlRhwysMEH6g15X4ct/iB4f0O10JvBa6munobeK7TWIkE0aEiNtrLkHbtyD3oA7Oiuc/tDx7/wBE5P8A4PIP/iaP7Q8e/wDROT/4PIP/AImgDo6K5z+0PHv/AETk/wDg8g/+Jo/tDx7/ANE5P/g8g/8AiaAOjrmrGNNc+MdrEQXg8Nae1y/90XNzlEH1Eauf+B07+0PHv/ROT/4PIP8A4mtn4XaLqmm2Oqalr1rFa6tq+oSXU0McokEUYASKPeOGwiL07k0AdhRRRQAUUUUAFFFFABRRRQAUUUUAFFFFABXHfEf/AJCfhb/sJt/6Ty12Ncd8R/8AkJ+Fv+wm3/pPLWtD418/yM6vwj6KKK6zEKKKKACiiigAooooAxfHP/Io6n/1wP8AMV6Ov3R9K848c/8AIo6n/wBcD/MV6Ov3R9KxxHwr5/oXS+Ji0UUVym4UUUUAFFFFABWD4t8RLpCxWdnCL3V7vItbUHGfV3P8MY7n8BzW9XnvhFVn1XxHqE37y7Orz23mtywijICID2UZPHvSlJQi5MqEeeSiXtB0k2LTXt7cfbdVu8G6umGN3oij+FF7L+PWtSiivOnNzd2ejGKirIKKKKgoKKKKACiiigDM1/SE1OKKSOZ7S/tm8y0u4x88L/1U9Cp4IrQ8I+In1CSTSdWiS01q1UGaJT8ky9pYieqn81PBp9YHjSNEj0vUEGy7ttTtVhmXhlV5kR1z6MpII712Yaq21Tlt08jkxFJWc1ud/RRRXScoUUUUAFFFFABRRRQAUUUUAFY3iXw5Y60I5maW0v4Afs17bnbLCfQHuvqpyDWzRTTA4dNavNFuU0/xYsUG47YNSjG22n9mz/qn/wBknB7GkjvdU8UO0Ph5mstMyVl1Z05f1Fup+9/vngdga63W2sI9IupdUjikskiZpllUMpUDJyDwa474R+NR4qj1C3nWOGa3mLQxKMYgJ+UY9un5VgsNRUufl1/Arnm1a51fh/RNO0Oza20+ErvbfNK7FpJn7u7Hlj7mtKiit229yUrBRRRSAKKKKAChgGBVgCD1BoooA+Zv2gv2VNB8XfaNf8B+RoWunLva422ty3XoP9Wx9Rx7d68r+Fvx/wDiB8G9eHgb4saXqF7p1uwjDTjN1bJ0DIx4lj9Ofoe1fdtcf8U/ht4R+JWhNpPinS47jaD5Fynyz27H+JH6j6dD3FAGp4J8W+HfGmgw654Z1W31GxlAw8Tcof7rDqrD0NblfAPjH4b/ABa/Zr8SP4r8Falcaj4e3/vJ4kLIUz9y5i6f8CHHoRX0V+z/APtJeE/iVHDpOqNHoXiUgA2kr/urg+sTnr/unn60Ae6UUUUAFFFFABTZEWSNo5FDIwKspGQQe1OooA87mtb7waTbvb3F74eBzbzwqZJbJT/BIo5aMdmGSBwRxmrtprmi3abrfVrGQe065H4E8V29ZeoeHPD+oyGS/wBD026c9WmtUcn8SKUoQm7vcydN9DE/tDT/APoIWf8A3/X/ABo/tDT/APoIWf8A3/X/ABrQ/wCEK8H/APQq6J/4Ax/4Uf8ACFeD/wDoVdE/8AY/8Kn2MO7FySM/+0NP/wCghZ/9/wBf8aP7Q0//AKCFn/3/AF/xrQ/4Qrwf/wBCron/AIAx/wCFH/CFeD/+hV0T/wAAY/8ACj2MO7DkkZ/9oaf/ANBCz/7/AK/40f2hp/8A0ELP/v8Ar/jWh/whXg//AKFXRP8AwBj/AMKP+EK8H/8AQq6J/wCAMf8AhR7GHdhySM/+0NP/AOghZ/8Af9f8aP7Q0/8A6CFn/wB/1/xrQ/4Qrwf/ANCron/gDH/hR/whXg//AKFXRP8AwBj/AMKPYw7sOSRhX/iPQ7MES6nbvJ/DFC3myMfQKuSTUug6RqOt6rb61rVq9lY2reZY2EmPMaTHE0voR/CvbOTzXU6bo+k6YP8AiW6XZWfY+RAqfyFXquMYw+Hcap66hRRRQahRRRQAUUUUAFFFFABRRRQAUUUUAFFFFABRRRQAUUUUAFFFFABRRRQAUUUUAFFFFABRRRQAUUUUAFFFFABXHfEf/kJ+Fv8AsJt/6Ty12Ncd8R/+Qn4W/wCwm3/pPLWtD418/wAjOr8I+iiqmtLcvo18lkSLpraQQkf39p2/riusyOB8TfHD4c+H9buNHutWubu7tTi6FhZyXC257h2UYFd3oGr6dr+i2mtaRdLd2F3GJYJlBAdT355H418vfC7xVceGfgKR4T1Hwpp/ibTbi7l8R2uuAi4nZSSAoyCzHGBnjtW/pHjm6uPGHwZ1rVNQttE03VdKvHu4IZPs9mZMHGVzt64xnuayU+5Tie3fETxfpfgXwy/iDWkuGtFmihIgTc26Rtq8E9MmmaL400nVvHWseDbVLn+0tJt4bi4LJiMpIAV2nPJ5Ga+YfF+uz6/8Kfibctq0upWaeN7ZbKQzmRFi8wYCdgv04rqta0fUtd+LXxfsNGvrux1P/hHrGa0mtpSjiWNUZRkc4OMH60e0dw5T6Zor55+CfjXVvin8StI1VLy7j07w94djXUoldljm1CUlTuXo2ApPtX0NWkXdXJasYnjshfB+qMxAUW5JJOABkV20fiDQWUbdb008drpD/WuA+KFq198OvEFiriNrmwlhDEZCllxn9a+dU/Yj8QBcj4g6fnHaxkH/ALNWWI+FfP8AQql8TPs5dY0lvu6pYt9Lhf8AGpV1Cwb7t9bH6Sr/AI18VP8AsU+Ll/1PxA00/W3lH9ajb9jHx4v+r8e6Wf8AgMwrlNz7dW4t2+7PE30cVIGU9GH518Mt+xz8S1/1fjjSj/20nH9KY37IPxYX/V+NdKP/AG9Tj/2WgD7qyPUUV8J/8Mk/GNP9X400z8L+4H/stH/DKvxxj/1fjWx/DVLgf+y0AfdlefeCv9Z4i/7D13/MV8rD9mP9oCP/AFfja3/DWJx/Svev2ZtB1zwz8ObjQ/El4LzVbTV7pLmYTGXe24c7jyazrP8AdP5GtD+Ij1Ciig9D9K849A8p8L/HTw74k8RR6PpPhzxVOHvjYm8XTibaOQNtJZwcADv7V1fw08c6f48stVutNs7q2XTdTm06QT7cu8eMsME8HNeJfsnab4+ntr6+0nxXp1p4aj8TXX2vTZNPEk02GG7Ev8ORj6YrhE1a+074W6rbLqV3pWiah8R57XWr21Yq8NscZG4fdB9fauh04vRHOqkt2fahB9KMH0NfItjqP/CJ+LvHth8G9evtY0G28JNeEi7a7jtrzcACjHPzbcn8/SqHhiXw7puq/C3V/h/4y1PV/FusX8K69btqDzGSNgDN5sZOECncPwz71PsfMftfI+p/iR4rs/A3gnUfFeoWtxdWtggd4oMb2BYLxnjvWzpd2moaZa38assdzCkyq3UBlBAP518NeOZvD2seBfiJrfivxbqUfjyPWpbW30171kBt1kG2MQ9GTGTnttFfbHg7/kUNF/7B9v8A+i1pTgopFQm5NmrWB46Yrpdjjvq1iP8AyYSt+uf8ef8AILsP+wvY/wDpQlVhv4sRV/4cj0Ciiiu44AooooAKKKKACiiigAooooAKKKKAK+o2drqFnJaXtulxbyD543GQ31rlPhtouhWsVxf6d4eu9Kn894/9LH7wrx05+4e1dk5whJOMDrXNfDe4t7nQZJrbW7zWIzcuPPukKOpGPlwewoA6aiiigAooooAKKKKACiiigAooooAbNHHNE8M0aSRupV0cZDA9QQeor5Y+P/7J+m61JN4k+GbRaPqwPmPpu7ZbzN1zGf8Alm3t936V9U0UAfDvwh/aT8ZfDXWB4H+MWnahPb2zeWbmZD9stR23Z/1qe/XHQmvs7wr4i0TxTokGteHtTttSsJxmOaB9w+h9D6g8iuY+L/wn8G/FHRjY+JNPH2lFItr+EBbi3P8Ast3H+ycivjfXvCfxi/Zd8Strnh68k1Lw1LJ88yIWtpl7LPH/AANj+L8jQB+gdFeN/AT9oTwf8UreKxMi6N4iCjzNOuJB+8PcxN/GPbqPSvZKACiiigAooooAKKKKACiiigAooooAKKKKACiiigAooooAKKKKACiiigAooooAKKKKACiiigAooooAKKKKACiiigAooooAKKKKACiiigAooooAKKKKACiiigAooooAK474j/8AIT8Lf9hNv/SeWuxrjviP/wAhPwt/2E2/9J5a1ofGvn+RnV+EfRRRXWYnJeIfhr4A8Qam2qa14Q0i+vmOXnltxvY+5HX8at634G8H63o9no+reGtMu9Psv+PW3kgGyH/dHauiopcqHdnMD4feCRpV1pK+F9MSwu547i4tlh2xySJjYxA7jAxWna6DpFjrV9r1jptrDq17EsVxchcNKqD5FY+gwK1KKLILnnnwM+Hcnw+0XVUvrmzutU1bUZL67ktIykS7j8qIDzgDP516HRRQlZWBu5i+Of8AkUdT/wCuB/mK9HX7o+leceOf+RR1P/rgf5ivR1+6PpWWI+GPz/Qql8TFooorlNwooooAKKKKACvPvBP+s8Rf9h67/wDQhXoNee2gfw34jvtO1JQtvq1/Ld2N3/A7yYJhb+64xx/eHTnipqpyptI0otKomzoqKKK8w9Ep6PpOl6Pbvb6Tp9rYwvK0zpbxhFZ26sQO59arw+HfD8OnXenRaJp6WV5I0t1bi3Xy5nbqzLjBJ9TWpRTuxWRm6DoGh6Bava6Ho9hpkDnc8drAsasfU4HNQaR4U8MaPqMupaT4d0qxvZs+ZPb2qI7Z68gZrZoouwsjEv8Awh4Uv7+5v77w3pFzd3UZiuJ5bRGeVD1ViRkitmGOOGJIYUWONFCoqjAUDgAU6ii7CyCuf8ef8guw/wCwvY/+lCV0Fc7q5fxBrFtoGmr5hs7y3u7+4/5Z24jcOE93bA+XsDk1vhYt1U+xjiGlTfmehUUUV2nCFFFFABRRRQAUUUUAFFFFABRRRQBn+ItXs9D0mXUdQlMNumAX2FgpPAyBzjNc78MfE1vrVlLatqNne30TM8htLZ4o1Qn5fvDrV3x3q2lQadLo93BNqF1fRMkdhbKHmkU8bsdFA/vEgVjfBDT9L03wvJHaXHm3zTE3qOu2WJuioynlcD8+cU+V2uK6vY76iiikMKKKKACiiigAooooAKKKKACiiigAqK8tre8tZbW7gjuLeVSkkUihldT1BB4IqWigD5G+Pf7JyS3Enin4TSf2ffxt5zaV5hRCw5zA/wDA2einj0IrC+Cv7UWv+ENSHgv4yWV6fszeT/aEkRFzbn0mT+Mf7Q5+tfa1ecfGr4M+DPipphi1yzFvqaLi31O3UCeL0BP8a/7J/DFAHc6DrGl69pMGraLqFvqFjcLuingcOjD6ir1fnzdWHxn/AGV/EpurSQ6l4Ynl5Zdz2VyM9HXrFJjvx9SK+sfgZ8dfBfxVskhsLkadripmfS7lgJAccmM9JF9xz6gUAeq0Vm6/rul6FAs2pXSxGQkRRgFpJT6Ig5Y/QVhp4yvLgb7TwlrLxn7rTNDCSPXaz5/OqUXa5LnFbnXUVyL+LNaBGzwbfN9b23H/ALPTf+Et1z/oS7z/AMD7f/4qjkfdfehe0idhRXH/APCW65/0Jd5/4H2//wAVR/wluuf9CXef+B9v/wDFU+R9196D2kTsKK4//hLdc/6Eu8/8D7f/AOKo/wCEt1z/AKEu8/8AA+3/APiqOR9196D2kTsKK4//AIS3XP8AoS7z/wAD7f8A+KpU8Wa0T83gy9A9r23P/s9Lkfdfeg9pE6+iuRbxv9lYHVfDms2UR6zLGk6J7t5bEge+K6XTNQstTso73T7qK6t5B8skTblNDi0rjUk9izRRRUlBRRRQAUUUUAFFFFABRRRQAUUUUAFFFFABRRRQAUUUUAFFFFABRRRQAUUUUAFFFFABRRRQAUUUUAFFFFABXHfEf/kJ+Fv+wm3/AKTy12NcR8VLq1srvwxcXlxDbQrqjbpJXCqP9Hl6k8VtQ+Nf10M6vwlmisj/AISfw1/0MOk/+Bif40f8JP4a/wChh0n/AMDE/wAa7OV9jC6Neisj/hJ/DX/Qw6T/AOBif40f8JP4a/6GHSf/AAMT/GjlfYLo16KyP+En8Nf9DDpP/gYn+NH/AAk/hr/oYdJ/8DE/xo5X2C6Neisj/hJ/DX/Qw6T/AOBif40f8JP4a/6GHSf/AAMT/GjlfYLoZ45/5FHU/wDrgf5ivR1+6PpXkvjHxF4fuPC+oQwa5pksrxbURLpCzEkYAGeTXrS/dH0rDEpqMb+f6GlJ6sWiiiuQ3CiiigAooooAKp6zpllq+nTafqECz28owynt6EHqCOoI6VcooTsBwNpPe+H9Si0LXZmmilO3TtRfgTjtFIe0o9f4hz1zW9WprOmWWsabNp+oQLNbyjDKeCPQg9iDyCOlcba3F7oGpRaFrkzTRSnbp2ovwJx2ik9JR+TDkc5FYV6KkuaPzR00a1vdkb1FFFcJ2BRRRQAUUVh6heX2qam/h/w/IEuFA+3X2MpZIew7NKR0Xt1PvpSpSqOyIqVFBXYaheX2q6k/h/w/IEnXH26+xuSyU9h2MpHRe3U+/W6BpFjoemR6fp8WyJMsxY5aRj952PUsTyTRoGkWOh6ZHp+nxFIkyWZjl5GP3nY9WYnkmr9eilGC5Y7HnSk5vmkFFFFAgooooAKKKKACiiigAooqjrerafoti17qVwsEIOBnlnY9FUDlmPYDmhK4XLxOASTgVyGoeJbzV7iTTvCQjdUbZcarIu6CH1EY/wCWr/T5R3Paqs0WreLDv1RZtK0U4KaerbZ7kf8ATZh91f8AYH4ntW/awQ2ttHb20McMMahUjRQqqPQAdK5K+MjT92Gr/Bf5/kaQpOWr0RQ0LRbPSVkeNpbi7nwbm8nbdNOf9pvT0AwB2FRazocd5dJqVjcPp2rRgCO8hAywH8Ei9HT2P4EVsUV5ir1FPnT1Ol04uPLbQzdD8USLex6P4kt00/U34hkU/wCj3fvGx6H/AGD831611Fc/qmn2ep2T2V/bx3ED9Ucd+xHoR2I5FZEF9q/hMBLw3OsaEuAJwN91aD/bA/1qD+8PmHfPWvWoYqFbTaX5+n+RyzpuHmjt6KgsLy1v7OK8sriK4t5V3RyRsGVh7Gp66CAooooAKKKKACiiigAooooAKKKKACiiigCtqmn2Oq6fPp+pWcF5ZzoUmgmQOjqexB4NfJfxb/ZY0zRPEdv408Ea9PoOmW9wJry1V2823Gf+XZhzkn5Qp6EjntX17XKfEw7tM0uBuUm1a2Vx2IDFv5qKcbX1Jk7JmP4a0maALqmsSNdazNGBJLIdxhXAxEmegHc/xHJNbtBorjlJyd2YpWCiiipAKKKKACiiigAooooAKwL7PhfUf+Ei09WSzdwNVtU+46E488Ds69SR1XOe1b9VNahW40e+gkAKyW0ikH0KmtaM3GS7Cfc7BWDKGUggjII70tYfw+uZLzwLoV1KSXksIWYnudgrcrpas7HQndBRRRSGFFFFABRRRQAUUUUAFFFFABRRRQAVDe3VtY2kt5eXEVtbQoXlllcKiKOpJPAFY3jTxdpPhW0je+aWe8uDts7C2XzLm6f+7Gnf3JwB3Irim0XWPF13HqXjry1tI332ugQvut4v7rTt/wAtpB6fcU9AetAHceEfFvh3xZbzT6BqkV4IH2SqAVdPQlWAIBHIOMEcjNblec+IvC9vqV3Dq2n3U2j65bKFt9RtQA4Uf8s5F6SR/wCw34YPNWvC/jq4i1KHw542todK1iT5ba6jJ+xagf8Apkx+6/rG3PpuoA7yiiigAooooAKKKKACiiigAooooAKKKKACiiigAqG7tbW7QR3VvDOgOQsqBgD64NTUUAUP7F0b/oE2H/gMn+FH9i6N/wBAmw/8Bk/wq/RTuxWRQ/sXRv8AoE2H/gMn+FH9i6N/0CbD/wABk/wq/RRdhZFD+xdG/wCgTYf+Ayf4Uf2Lo3/QJsP/AAGT/Cr9FF2FkUP7F0b/AKBNh/4DJ/hR/Yujf9Amw/8AAZP8Kv0UczCyKA0XR1YMuk2AIOQRbpx+lX6KKVx2CiiigAooooAKKKKACiiigAqnrOmWWsabNp+oQia3lGGU8EHsQexB5BHQ1cooTsBxsPhnxVbxiCHxZbSRJ8sbXGmb5NvbcwkG4474Gad/wj/i7/oaNN/8FB/+O12FFPTsvuQ7y7v7zyL4wr8SfDXw71XV/DmoQ6xqsUYFvbWujEuSWALf6w8AZPQ9K+adA/ax8aWOpjTvGmk29p5fyzPBYETK3vG7qP1Ffedcx42+H/grxpbtD4o8NabqeRgSSwjzV+jj5h+BqbRvey+5D55W3Z5V4B+KHh3x9CkGkfFXSLW6mG021zpX2a5XP93fKQT6EbhmvbPD+k2OiaXHYafHtiXLFidzSMers38THqTXy/8AEP8AYt8OXqyXXgbxBdaTPnKW17++h+gYfOP1rzc6T+1J8D5d9jJqWraPCOkLG/tSo9UPzJ+Qqr6WSJd3uz74or5A+H37aVoWWy+IHhaa0mVtr3WnHco9d0TnI/An6V9F+Afir8PvHUUZ8M+KdPvJnAP2ZpPLnHsY2w2fwpAdpRRRQAUUUUAFFFFABRTLiaK3heaeRIokUs7uwCqB1JJ6VxtzrWqeJnNv4dd7DSuRJqrJ88w9LdT2/wBs8egPWk2ormk7IOtkafiHxPHZ3f8AZOlW51PWGGRbo2EhB6NK/RF/U9hWfpehyfbl1jXLoalq2PkcriK2HdYU/h/3vvHuavaNpVjo9p9msYdik7pHYlnlbuzseWY+pq9Xl4jGOfuw0X4s6adG2stwooorhNwooooAKBRRQBz9xo15pd5JqnhaSO3mkbdcWEhxbXJzycD/AFb/AO0OvcGtzw54js9ZMlv5ctnqMA/0iyuBiWP39GX0YZBqSszXdFtNWEckjS215Bzb3kDbZoT7HuPVTkHuK9HD45r3auq79f8AgnNUodYHU0Vx+n+JLzSbiPT/ABb5cYdtlvqka7beY9lcf8snPoflPY9q7AcjNel0utjnuFFFFAwooooAKKKKACiiigAooooAK5T4lf8AHpov/YYt/wD2aurrlPiV/wAemi/9hi3/APZqaIn8LJaKKK4TIKKK4H41fEN/AWj6emnaW2r69rF2LPS7ENtEkh6lj2UZH500rgjvqK8T8VeNPjD4T+HfifWvFGheHLa4sbFLixu7GZpYvMMiqYpEY5yAxORxxXaX/wATfCHhvw9od54y8RWGlXWpWUVwsb7iWLKCSFUEhcnr0p8rHZncUVyPiD4meAdA0bT9Z1fxVp9tp+pKWsp9zOs4HUrtBJxkU9/iP4FTwra+KW8T2A0S6uBaw3uW8tpTnCHjKng9cY70rMLM6uisrwr4i0TxVo0es+HtRh1HT5HZEuIgdrMpww5APBFatIQVBqH/AB4XP/XF/wD0E1PUGof8eFz/ANcX/wDQTVQ+JCexa+GH/JOfDv8A2DoP/QBXR1znww/5Jz4d/wCwdB/6AK6Ou2fxM3jsgoooqSgooooAKKKKACiiigAooqnreq6bommT6nq17BZWcC7pJpnCqo/x9upoAuVwXiTx1cXWoz+HfA9vDqeqRHZdXspP2LTz3EjD78npGvPqVrJvdQ8RePyY4De+G/CrcFuYr/UFz27wREd/vkH+Gui0jTdP0jTotO0uzhs7SEYjhiXao/xPqepoAy/DXhi20m6m1S7up9W1y5GLnU7rBlcf3EA4jjHZF4+p5rfoooAKp6zpen6zpsum6rZw3lpKPnilXIOOh9iOoI5FXKKAOTsdU8QeAAI75rzxF4VQACfBlv8AT1/2wOZ4gO4+cDqG616Po+p6frGmwalpV5Be2c67opoXDKw9iKxK5S78Paloeoza54FnhsrqVt93pcxIsr455JA/1Uh/56KOf4gaAPUaK5nwX4003xK01kYptN1m1H+l6Xd4WeHnG4dnQ9nXIP6V01ABRRRQAUUUUAFFFFABRRRQAUUUUAFFFFABRRRQAUUUUAFFFFABRRRQAUUUUAFFFFABRRRQAUUUUAFFFFABRRRQAUUUUAFFFFABRRRQBwnxA+EHw58dRSDxF4VsJrhwf9KhTyZwfXemCfxzXzr4+/YuMM39ofDvxZJbyodyW2o5yp7bZUGR+I/GvsWigD4HTxT+1D8EXaPWbbUNU0iHgtdx/brbaO4lX5lH1I+len/Dz9s/wnqIitvGuh3miXB4e4tf38GfXH3wPwNfVDKrKVZQykYIIyDXl/xE+APws8cK8mpeGYLO8bJ+16f/AKPLn1O3hvxBoA6/wb448IeMrX7R4X8Rabqq4yVt5wXUf7S/eH4iuir4o8Y/sdeKtCvzqvw08YeY8Z3RRXLm2uEPoJU4P4hawLX4x/tHfB51s/G2j3Wo2EbYDarblwR6LcJ1/EmgD72rK8R6/p+h26Pdu7zynbb20K75p2/uoo5P16Dua8W+GP7RsPxF0SZ9L8NXGkXkMkcE93eyB7G3dwcFpFwT0OFIGfWvUdE0OGxuJNQuLiTUNUnH729mwWI/uoBwieij9ayr1o0Ypy67DhFzdkVDpmpeIplu/FG2O0Vt0GkRtujX0Mx/5aN7fdHv1roQAoCqAABgAdqWivGrVp1XeR2QgoLQKKKKyLCiivEP2soPFkml+HrjS4dduvDMF4z+ILfRJTHePFgbSpHO0fNnHtmrpw55ctxSdlc9uYhfvEL9TigMpJAYEjqAelfLGs6v4Ab4LeHJvDd7rfiXTW8YWqeXqmoSLc2UzH7jEc4GMhTwc9ap+Jde8VeH7z4/ar4VkEd3bahamS4MxR7aLYd0kfqwOBj3NbLDt9f6uR7Q+tKK4f4Hap4t1n4b6XqPjK0tIL+aCNont5/N8+IxqVlc9nbJyK7iueSs7Fp3QUUUUhkd1BBdW8ltcwxzQyKVeORQysD2IPWsCGPV/Ch3aYs2q6KDlrFm3XFsP+mLH76j+4efQ9q6Oit6GInRem3YznSU/Us6Lq2n6zYre6bdJcQklSRwUYdVYHlWHcHmrtcXreki2nm1/Sb6LSNQRC00z/8AHvOo7TL0I/2uGHr2r5/+L37WHiDwV4rj0e08G2E8RtY5jJcTyDzC2fmQgcxnGQcDNezSqRqx54HG04vlkfWlFfDqftv+JP4/Amkn6Xkg/pU6ftwa1/H4B08/S/f/AOJqwPtuivipP24dQ/j+H9qfpqLf/EVMn7cUv8fw8Q/TU/8A7XQB9n0V8bp+3HF/H8OXP01Uf/GqlX9uOx/i+HFx+Grr/wDGqAPsOivj9f24tM/i+Hd4Ppqq/wDxupF/bh0X+L4fagPpqSH/ANkoA+vK5T4lf8emif8AYZt/5NXzkv7cHh/+LwDqg+l9Gf8A2Wrvh79p7RPif4x8OeErPwtqGnTz6nHKJpbhHUBFYkYAzTRM/hZ9C0UUVwmIV5F+0d4c8TXk3hLxn4T07+1dQ8Lan9rewBw88TY3bfUjb0969do6GmnZjTseB/E3xT4m+I3wi8XaVZfDbxJpSf2ehja+jAknm81P3ccY5bAyc+1cZ498JeK9K8e6f4kl0rxPc6beeGrSxD6NZ29zNbSJGFeJ0mRgoJycjHXr1r6vyc9aKpTt0HzHy1faX4t8LeAfA2meH/DPidNFH2tr1v7OtrrVbVnfKJh1KRq3XgdPpWJYeB/FTfAJdFvfDGqm6fx/HcyWk9uDIbc/edlUbdvPJA2+nFfYGTS8+9HOPmILS1tbO3W3s7eG2gT7scSBFH0A4qaiioICoL/mxuB/0xf/ANBNT1BqP/IPuf8Ari//AKCaqPxIT2Pmvw9+2L4b8OaJZ+H5vBurTyadCtq8qXUYDlBtJAI6HFaA/be8Kd/BGtD/ALeYq9h+H3w0+Ht/4E0O8vfBegz3E1hFJLLJZIWdioJJOOSTW03wj+GDfe8B+Hj/ANuKf4V2z+JnRHZHgy/tu+EP4vBeuD/tvF/jUi/tt+Cz97wfro/7axf417i3wd+FjdfAPh7/AMAk/wAKjb4L/CdvvfD/AMP/APgGtSM8WX9tjwN/F4U18f8AAov8aev7a3gLv4Y8QD/v1/8AFV7E3wR+Ebdfh74f/wDAQVGfgX8Hz1+Hfh//AMBhQB5Kv7anw9/i8O+IR/wGP/4qnr+2l8OT10HxCP8AtnH/APFV6qfgR8Hj/wA070H/AMB//r0xvgH8G26/D3RPwjI/rQB5iv7aHw176N4iH/bGP/4upF/bO+GB+9pfiIf9u8f/AMXXor/s9/Blv+af6UPpvH/s1Qv+zp8F2/5kPTx9HkH/ALNQBwi/tl/Cs9bDxEP+3VP/AIupPht8QvC/xm+JGqahGupXVlpsEMukWt/GEhiccTOIwSGkDFDuOSAwxiuxf9mz4Kt/zI9qPpPKP/Zqq6z4B8M/C2LQNX8G6OmnWMGreVqKK7NmK6CwliWJOFcRH04NAHoFFFFABRRTJpYoYXmmkSKJFLO7sFVQOpJPQUAPorK8NeI9B8S2k154f1a01S3hlMMkttIHVXABK5HfkVq0AFFFFAHFfGK0tF8JXGtpHMmt2KgaTdWrbLiO4dgsaqw6hmIBU5BGcivU9NS6j062jvpVmulhQTyKuA7gDcQO2TmvOdehl1r4heFtAjYfZrWSTWb4eqw/LCv4yuD/AMAr06gAooooAKKKKACiiigAooooAKKKKACiiigAooooAKKKKACiiigAooooAKKKKACiiigAooooAKKKKACiiigAooooAKKKKACiiigAooooAKKKKACiiigAqK7t7e7t3t7qCKeFxh45UDKw9CDwalooAw9B8H+FtAtL600Xw/p1hbahIZbuGCBVSZiMZZenQVjXOj6p4XJn0FJdS0gEs+mM2ZYB6wMeo/6Zn8D2rtaKUoxkuWSug2d0c5o+qWOr2f2rT5xLGGKuMENGw6qynlWHoau1S8QeGFurw6vo1wNM1gDBmVcx3A7LMn8Y9+o7GqOla4z3w0jWbX+zNWx8sLNmO4A6tC/8Y9uo7ivKxGDdP3oar8V/Xc6ada+ktzboooriNwriviT4d8bavdafqHgnxuPDl1aq6Swz2YuLe5VsYLKejLjgj1rtaKcZOLuJq54QP2fpI/BkWlL4nFxq0/iWHX9Tvprbas8iE5REU/KOeK3Z/g6bx/ifHe60ot/HBQx+VCd9ptXAzk4bnB7cV61RWnt59yeRHI/CTw74i8KeC7XQvEniCDW7i0AignhtfJVIVUKiY7kAdT6111FFZt3dykrBRRRSGFZuu61Z6QkazeZNdTkrbWkC7pp29FX+ZPA7mqN1rV3qV5LpXheGO7uYyVuL2TP2a0PoSPvv/sD8SK2/Dfhuz0eSS7eSS+1Ocfv76fBkf/ZHZF9FHFejh8C371XRduv/AADnqV+kTLsPDd7rE8eoeLPLMaNvt9KjbdDH6GU/8tX/APHR2B610lzpmm3Lh7nT7SZwAu6SFWOPTkVbor0lZJJbHOZraBoLfe0XTT9bVP8ACmHw14cb72gaUfrZx/4Vq0UAY7eFfC7fe8N6OfrYx/8AxNRt4O8It97wtoh+thF/8TW5RQBz7eCPBjfe8JaCfrp8X/xNRnwD4Gbr4N8Pn/uHRf8AxNdJRQBzDfDvwC33vBfh4/8AcOi/+JqNvhr8PW+94H8On/uHRf8AxNdXRQByDfC/4cN97wL4cP8A3Dov8K5/xd4D8FaDPoWpaL4U0bTr1dXgVZ7azSNwCGyAQM816fXJ/Ev/AI9NE/7DNv8AyamtyZ/CyavNf2jvGmreCfh19r0Dy11jUL2HT7OSRcrE8h5fHsBx716VXFfGnwHH8RfAs/h/7abC7WZLmyugu7yZkOVJHp1Brija+pktzjpPAvjHwj4Y1rWbr4n67rX/ABI7w31reAFDN5LFXhI5j2t+lc38B/jFcW/hnwH4c8Q+G9eSLVl+xW2vXThormcE8DJ3EdBuNddp/h341appl9pXi7xD4XNjJpdxaBbK3fzLqR4iiPIzD5QCQTt61Qg+E3iCPwh8KtIN5p5n8Iaglzfne22RRniPjk898VenUq6L/jL4z3nhPWZU1j4d+IINCivVs21dnjEZLNtDhM5Kk9KTxl8bDofjDXPDGm+Btb1+60e2ju5pLNl2CFk3M7E/dwMcc5rzrxd+z7471jVtYZtS8M38d3qv2+HUr1Zjfqm8MIQ3KooHYV6nY/D3WIPiL478RNdWn2XxDosNhaoGO9JEj2kvxgDPpmi0QtExvD37QOm6vq3hxW8H6/Y6L4huBaWWrXKqInuD1QAEkgHjd+NcV4b+Kus+DfF3xRlufDXiLxLp1lrrSTTwSgw6fAMjHzHj/dHpXVW/wf8AEUfw8+GXh1r3TvtPhXWUvr1t7bJEDMSE45PPfFZ2s/Cf4ppd+O7fw74g8O22leMdQkkuUuInaWGFuNysBjcQWBH60/dDQ63xJ8bNNtrnSLHwr4d1PxXf6npq6otvZsqeTbN0Zy3frx7VT1H4/aLF4Z8K65p3h3VtT/4SOee1htINvnxXEWAYyvcliBkH3rm/GH7P97Hqehal4VXw7qh0/RotKuLTxBAzxSeX92VSvIbrW5a/CfXI3+G8oTw7Yt4b1O4vdQg06JoYGEmMCJcHJ45zilaIWieteGr+71TQbPUL/SrjSbqeIPLZTsDJA391iOCas6j/AMg+5/64v/6CanFQaj/yD7n/AK4v/wCgmph8SM3sWvhd/wAk48O/9g2D/wBAFdJXN/C7/knHh3/sGwf+gCukrtn8TOiOyCiiipGFFFFABRRRQAUUUUAFY/jXRI/EnhHVdCkbaL61eFX/ALjEfK31BwfwrYooA888A6tJrXg7TNQuCPtRh8q6A/hnjJSQf99q1btcr4fjj0P4h+KPDSgpFcSJrVop6bZsrKB9JUJP++K6qgAqlrmj6Zr+mS6RrFnHe2NwVE0EmdsgDAgHHUZA471drL8V6FZ+JfD93oeoS3cVtdKFke1mMUoAIPyuOR0oA8h/Y6hit/CvjCCCNIoo/FV2iIgwFACgADsK9yrz34a/B/wh8PdZm1Xw7JrCzTRvHIlzftLG24glip43fKOetehUAFFFYvjnWf8AhH/CGqawqGSW3t2MEY6ySn5Y1HuWKigBnwphTVPEfinxdv8AMSe7XS7M9hBbZDEfWVpP++RXodYXw/0NfDfgvSdEUfPa2yrKf70pGXb8WLH8a3aACiiigAooooAKKKKACiiigAooooAKKKKACiiigAooooAKKKKACiiigAooooAKKKKACiiigAooooAKKKKACiiigAooooAKKKKACiiigAooooAKKKKACiiigAooooAKoa7o+na3Ymz1K3WaPO5Gzh427MrDlWHqKv0U07A1c4aWfVvCreXrLS6lo2cJqSpmW3HpOo6j/poB9QOtdBBLFPAk8EiSxSKGR0YFWB6EEda2GAZSrAEHgg965C+8N3uizSX/AIT2eU7b7jSZG2wyepiP/LJ/b7p9B1rir4ONT3oaP8P+B+RpCq46PVG1RWboWtWerxyCDzIbmAhbm1mXZNA3oy/yPQ9jWlXlSjKD5ZKzOtNNXQUUUVIwoorI1rXYrG5j0+1t5NR1WYZisoCN2P77noif7R/DNXTpyqS5Yq7JlJRV2X9SvrPTbKS8v7mO3t4x80jnAHt7n2rGgtNX8WfNcLc6NoR/5Z/cu7se/eJD6fePtV7RvDE0l7FrHiaeO/1BOYIEB+zWn+4p+83+2efTFdTXr0MLCjq9ZfgvT/M5J1JT8kV9NsbPTbKKysLaK2tohhI41woFWKKK6SAooooAKKKKACiiigAooooAKKKKACuT+Jf/AB6aJ/2Gbf8Ak1dZXKfE/EejWF452xWuqW0sjHoq79pJ9vmpx3In8LJaKO9FcJkFFFFABRRRQAUUUUAFFFFABVfUf+Qfc/8AXF//AEE1Yqjr9wlroV/cyHCxW0jH8FNVD4kJ7Gh8Lv8AknHh3/sGwf8AoArpKxfAlnJp/gvRbGUESQWMKMD2IQZrartl8TOiOyCiiipGFFFFABRRRQAUUUUAFFFFAHnvxVRtL8R+FvFSRjy4rttLvW9IbnAVj7CVY/8Avo1uVZ+IGht4l8FatoccgimurZlgk/55yjmNvwYKfwrnPBWtDXPCemarKyJPcW6mdNw+SUfLIv4MGFAG1RTfMj/56J/30KPMj/56J/30KAHUU3zI/wDnon/fQo8yP/non/fQoAdXLeKI5NY8a+FfDUY3Qm6bVb3uPKt8FAfrK0f/AHya6fzI/wDnon/fQrE+GUS6t4z8U+KfMEkSSpo9kR0CQfNKR9ZXYf8AAKAPQ6KKKACiiigAooooAKKKKACiiigAooooAKKKKACiiigAooooAKKKKACiiigAooooAKKKKACiiigAooooAKKKKACiiigAooooAKKKKACiiigAooooAKKKKACiiigAooooAKKKKACiiigDD8SeG7TWJI7yOWSw1OAfuL6DiRf9luzp6qePpWNaa1d6fex6T4ohjtLqQhbe7jz9muz6KT9x/wDYb8Ca7Wq+pWNnqVlJZX9tFc28ow8ci5BrOrShVVp/eOMnB3iUaRiFUsxAAGST0Arnri11rwmC1ul3rmiDAES/PeWo9s/61Pr8w96fbaJqfiZluPEaPY6Xw0elK/zy+9ww6/7g49c1wRy+fNZvTv8A8A3eIVttRi6lqXiOZrXwwRFZg7ZtXkTMY55WFT/rG/2vuj36V0nhzQdP0K2aKzR3llO6e5mbfNO3952PJ/kO1aMMUUMKQwxpHGgCoiLhVA6AAdKfXowhGnHlgtDnbcneQUUUVQBRRRQAUUUUAFFFFABRRRQAUUUUAFFFFABVTWNPtdW0u5029jElvcxmORfY/wBat0U07aged6bqE+k3SeH/ABFIIr1Pktbp+I75B0ZT034+8vXPI4rerd1LT7HUrRrTULSC6gbrHKgZT+Brmn+H2iBj9ku9bsU/5522pzKg+g3HFRKlCTvexi4SWxY5o5qt/wAK/wBP/wCg74m/8G0v+NH/AAr/AE//AKD3if8A8G0v+NT7CP8AN+AuWXYs80c1W/4V/p//AEHvE/8A4Npf8aP+Ff6f/wBB7xP/AODaX/Gj2Ef5vwDll2LPNHNVv+Ff6f8A9B7xP/4Npf8AGj/hX+n/APQe8T/+DaX/ABo9hH+b8A5ZdizzRzVb/hX+n/8AQe8T/wDg2l/xo/4V/p//AEHvE/8A4Npf8aPYR/m/AOWXYsOyohd2CqBkknAArBgU+NL+K0swW0CCUSXl2OEumU5EMf8AeXIBZunGOcmtq28AeHkkEl4t/qhHRb+9knT/AL5Y7T+IrqYY44YlihjSONRhVUYCj0A7VcIRg7p3Y1Tb3HUUUUzYKKKKACiiigAooooAKKKKACiiigArlrr4c+A7q5lubjwfoks0zmSR2s0JdicknjqTXU0UAcl/wrP4e/8AQl6F/wCASf4Uf8Kz+Hv/AEJehf8AgEn+FdbRQByX/Cs/h7/0Jehf+ASf4Uf8Kz+Hv/Ql6F/4BJ/hXW0UAcl/wrP4e/8AQl6F/wCASf4V0OjaXpui6dHp2k2NtY2cWfLgt4wiLk5OAOOSSa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B//Z">
            <a:extLst>
              <a:ext uri="{FF2B5EF4-FFF2-40B4-BE49-F238E27FC236}">
                <a16:creationId xmlns:a16="http://schemas.microsoft.com/office/drawing/2014/main" id="{D0936C4F-CC47-449E-BACA-6842E0C4876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D17FE5A-B9E0-459B-BCDD-67BA8C8BFF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863" y="3810000"/>
            <a:ext cx="5526245" cy="265259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FCC51F5-B184-4AD3-971E-F16E69CC90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1234" y="1519122"/>
            <a:ext cx="6255599" cy="210037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321FA5B-5A57-4C44-AE1B-B3D1AB245A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77108" y="3839012"/>
            <a:ext cx="5341144" cy="1919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988762"/>
      </p:ext>
    </p:extLst>
  </p:cSld>
  <p:clrMapOvr>
    <a:masterClrMapping/>
  </p:clrMapOvr>
  <p:transition spd="slow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75C55B0-1C09-47B4-8C18-1E334630CC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232" y="1417465"/>
            <a:ext cx="6066407" cy="48239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Technologies</a:t>
            </a:r>
          </a:p>
          <a:p>
            <a:pPr lvl="1">
              <a:buFont typeface="Arial" panose="020B0604020202020204" pitchFamily="34" charset="0"/>
              <a:buChar char="+"/>
            </a:pPr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Azure Data Studio</a:t>
            </a:r>
          </a:p>
          <a:p>
            <a:pPr lvl="1">
              <a:buFont typeface="Arial" panose="020B0604020202020204" pitchFamily="34" charset="0"/>
              <a:buChar char="+"/>
            </a:pPr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Azure DevOps</a:t>
            </a:r>
          </a:p>
          <a:p>
            <a:pPr lvl="1">
              <a:buFont typeface="Arial" panose="020B0604020202020204" pitchFamily="34" charset="0"/>
              <a:buChar char="+"/>
            </a:pPr>
            <a:endParaRPr lang="en-GB" dirty="0">
              <a:solidFill>
                <a:srgbClr val="002E5F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Ways of working</a:t>
            </a:r>
          </a:p>
          <a:p>
            <a:pPr lvl="1">
              <a:buFont typeface="Arial" panose="020B0604020202020204" pitchFamily="34" charset="0"/>
              <a:buChar char="+"/>
            </a:pPr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Agile methodology</a:t>
            </a:r>
          </a:p>
          <a:p>
            <a:pPr lvl="1">
              <a:buFont typeface="Arial" panose="020B0604020202020204" pitchFamily="34" charset="0"/>
              <a:buChar char="+"/>
            </a:pPr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DS Ideation and approach</a:t>
            </a:r>
          </a:p>
          <a:p>
            <a:pPr lvl="1">
              <a:buFont typeface="Arial" panose="020B0604020202020204" pitchFamily="34" charset="0"/>
              <a:buChar char="+"/>
            </a:pPr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Importance of Data Security</a:t>
            </a:r>
          </a:p>
          <a:p>
            <a:pPr lvl="1">
              <a:buFont typeface="Arial" panose="020B0604020202020204" pitchFamily="34" charset="0"/>
              <a:buChar char="+"/>
            </a:pPr>
            <a:endParaRPr lang="en-GB" dirty="0">
              <a:solidFill>
                <a:srgbClr val="002E5F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Challenges</a:t>
            </a:r>
          </a:p>
          <a:p>
            <a:pPr lvl="1"/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Permissions</a:t>
            </a:r>
          </a:p>
          <a:p>
            <a:pPr lvl="1"/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Keeping up with the meeting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2D32590-9556-4431-BF5A-5F38BDC49F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earnings &amp; Challenges</a:t>
            </a:r>
          </a:p>
        </p:txBody>
      </p:sp>
      <p:sp>
        <p:nvSpPr>
          <p:cNvPr id="2" name="AutoShape 6" descr="data:image/jpg;base64,%20/9j/4AAQSkZJRgABAQEAYABgAAD/2wBDAAUDBAQEAwUEBAQFBQUGBwwIBwcHBw8LCwkMEQ8SEhEPERETFhwXExQaFRERGCEYGh0dHx8fExciJCIeJBweHx7/2wBDAQUFBQcGBw4ICA4eFBEUHh4eHh4eHh4eHh4eHh4eHh4eHh4eHh4eHh4eHh4eHh4eHh4eHh4eHh4eHh4eHh4eHh7/wAARCAFKA0Q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82+MXxUh+HuqaLZf2RLqQvH86/dJNosbMOkbTtxzhpFGPrzQB6TRWbruv6HoVil9rWr2OnWrkKkt1OsasT0AJPNV9U8XeFtLs7S81LxFpVpbXoBtZZrtEWYHuhJ+YfSgDaorJ13xN4c0FYG1rXdN00XB/c/arlI/M/3dx5rB8WfFDwd4X8U6N4e1jVra3n1aKSaKVpkWKJFXIZyWGA3RSAckGgDtKKRSGUMpBBGQR3paACiiigAooooAKKKKACiiigAorn/AIj+Iz4Q8B614nFp9rOmWj3Ag37fM2jpnnFZfgzxB4vvLc6l4u0PRNE0o2q3CXEOqGUjIBwwZFCjB65oA7SiueTxdoup+H9T1LwzrGkau1jC7ny75PKVwpIEjjOwcdT0HNY+meN7ufxfoWh3drYRxaj4ffVp54bnzUjZWjG1H6MmHJ3ewoA7mis4a9opsbG+GrWJtb90js5vPXZcO33VQ5wxPYDrULeJ/Da6tHpDa9pg1GSVoUtTdJ5rSKASoXOcgEHHvQBr0VkWHijw3f6zNo1jr+mXOpQ5821iukaVMdcqDnirup6lp2lxRy6lfW1nHJIIkeeUIGc5IUE9+Dx7UAWqK5z/AITzwT/Zf9qf8JdoX2HzvI+0fb4/L8z+5uzjPtWlrOvaJo2mDU9X1ewsLE4xcXFwscZz0wxODmgDRorOt9d0W40Q65b6vYS6WELm8S4UwhR1O/OMfjXL6F8Q7HXfiWPDei3Gnajph0X+0Rf2twJMuJvLKfLxjHPrQB3NFZGl+KPDeq6pPpema/pl7fW+fOt4LpHkTHXKg5rXoAKKKKACiiigAoorz7xp408T2PxDtPBvhbw7p+qXU2ltqUkt5fm3VEEvl7RhGyc0Aeg0Vzcni3TdF02xPjTVNF0HUrhAXt5L9dobPRWbaWHvgVJqWvXNv4r0rS7dNNls720nuGke9Cz/ACBSvlxYzIp3csDxx60AdBRXHfDLxvB4o8G6Dq+pNZ6ff6wsxgtBNy5jdgwQHlsBcn0rem8QaFCt60usWEa2EqxXha4UC3dsbVfn5SdwwD6igDTorDPjDwmNJn1c+JNI/s+CYwS3X2xPKSQdULZxu9utaelajYarYRX+mXtve2kozHNBIHRh7EcGgCzRXnWreP8AXb3xdqXhvwJ4Xh12XR9q6pd3V8LWCGVl3CFTtYu+0gnjAyMmuh/4TDTdM0Gxv/GNxY+F7q5X57W+vYwUfPKhs4b6j1oA6SiqQ1bSy9ig1G0LagCbMCZT9owu47OfmwvPHamSa5o0a6g0mrWSLppAvi06gWxKhh5nPy8EHnsaANCisiw8T+G7/RZdbs9e0240yIkSXcdyhhQjrls4FT6Drmja/ZG90PVbLUrYMVMtrOsihvQlT1oA0KKKKACiiigAooooAKKKhv5/stjcXW3d5MTSbc9cDOKAJqK88+BPxLHxL8Ly6lc6V/Y9/A0ZlszN5mIpY1kikBwMhkb06gjtVT4b/FmDxp8QPE3h6HSvsunaPGJbfUXmBW7QSPG7hcfKoeN8HPOKAPTqKxtF8U+HNdluYdD17S9Tnth+9jtrpJCn+9tJwPes/QPGNjJ4X0/VfEmoaHpc94krqsepJLCwQnJSQ4DYABOOlAHU0VxnjH4neDvDPgSTxnNq9rfaUHEcT2c8cnnuWxtQ7gCRySM9Aa1v+Ey8Jjw/H4gbxHpSaVI21LxrtBEzdMBs4Jz2oA3aKzT4g0IabbakdZ08WV0wW3uPtCeXKSCQFbOCcA/kabo3iTw/rVhNqGka3p1/aQErNPb3KOkZHUMQcD8aANSisfQ/FPhrXRc/2Lr+maj9l/1/2a6STyv97B4pmneL/Cmo6lDpun+JNIur2aITRW8N5G8joRncFByRigDborJvfE/hyx1qHRLzXtMt9Tnx5VpLdIsz56YQnJpL7xR4bsdZh0W91/TLbUpseXaS3SLK+emFJzzQBr0VmeKJ9cttIeXw7p9nqGoBl2QXVyYIyM8kuFbHHtXnngH4ieMtfvdSm1bwzoOkaPpGpTafqV42sEmJ4lBZlBjAK/MvJI70AerUVlaH4l8Pa5ZzXmja5p2oW0BImltrlJFjOM/MQeOPWuX8c/ErSNM+Hes+KfC9/pevPpjQo8cN0HQM8qJhihOOGJ/CgDvaKpQarps2pyaVHfWzajFCs8tqsoMsaNwGK9QCehq7QAUUUUAFFFFABRRRQAUVwXxf8W+LPBmiXviDSPDmm6rpOn2T3V28+oNBKNmSVVQjA8D1FO8O+N7230VdW+ISeHvC9tcpG9k39rB/NDLk53qmCMjpnrQB3dFZV/4k8P6fosetX2uadbaZKAY7uS5RYnB6YYnBz7Vi3njOP/hNfC2j6b9kvdP122u7gXkcu4AQqhXaRwQdx/KgDr6Kp6Rqmm6vaG70q/tr63DtH5tvKHTcpwwyOMg8GvPPAvjvxx4uvZ7qw8JaTHoUGqz2ElzJqrCfbDIUZxH5eM8ZA3UAen0Vj2/inw1casukwa/pcuoO0irapdIZS0f+sG3Ocrg59MUuj+KPDes309hpOvaZf3dv/robe6SR4+3IByKANeisOXxj4Tj1K402TxNo6XtsVE9ubyMSRliAAy5yMkgfUitBNU02S4vbdL+2aaxCm7jEoLQAruG8fw5HPPagC5RWRfeJ/DljokOt3mvabb6ZOqtDdyXKLFIG5BVicHPtUj+INBTTrbUm1nT1srpgtvcG5QRysQSArZwTgH8jQBp0Vm6F4g0PXrKS90TWLDUraNikktrcLIiMOoJU8GqVp428H3cM81r4p0WeO3lSGZo72NhHI7bVViDwSxwPU0Ab9FVZtS0+HU4NMlvbdL64RpIbdpAJJFXG5lXqQMjJ96tUAFFFFABRRRQAUUUUAFFFFABRRRQAV4FNovi74heKviDqlha6E2jXkTeGbf8AtUTK/kxKfNeMKPutK7HPcoPSvfaAABwAKAPmNtUju/Afg7VfEuvyaD4y8MC803fe6W95aXMsWIpEkUL1dVQqwIY5OM1a8Y62E0/w347nSHw94vPh3YPD15o8lzaXsbPv+zphcxyFlGMHcAwyMV9I7F/ur1z070FVJGQDjpx0oA+ZvF51KL4rajrHirWovCNpq+hWK2IvNDXUIlHlnz7YORiNhISSv8WQe1XbnT9E8FyfCDVLy8uNT8O6dBfWkmpz6c+797HmEPHtLIMgqoI44r6MZVYYZQR7ilIDDBAI96AERlZFZfukZHHaloooAKKKKACiiigAooooAKKKKAOC/aHjkm+B/jGKKN5HbSpgqopLE47AVzWuaRc+C/g5fa3ZTa14mnOm24NhrE73tvGCU3P5OMnYCWwOSFxXsRAIwRkUUAfLnhiWXUPF3j+6t9ZGv283gV41vbbRTYQyOGk+RVAxIRnGeTzjtXV+E7C6uPEHge3WCRWf4cyQZZCArnyAAfQ+1e7hVAwFAGMdKAo44HHA4oA+WtI8QWV74F+E/g2C11M61ofiCxj1SBrCVRZmMuh8xiu0ZJGME5HNeheDPDaz6n8W9SsdNiTxBc6tPDZXkkeJARaR+VtYjgBmPI7k17HtXJ+UcnPSlAAzgAZ60AfLHwk0mwvJPAml6l42a11jRLmOU6MnhnyLqK4VGWRJJgMlTlsuThuDXrH7Q+l2+s6b4P0+8she2kviywFxCyFlZPnzuH931zxXp21dxbaMnqcc0EA4yM80AeIWHg/QJfjv8QWl8N2TQHw9ZrGGtB5eXWUPtGNuSFUHHPArkPCVxb6Tpnwi8ReOrO4m8O2nh65tRLNaPNHZ3paMRPIoBK/uldQxHH419P4Gc4GaQqpXaVG30xxQB8uapp32rwv4p8Rafot4fAV34x0/UDYpaOn2iyjCi6lWDAby2kAbGPmCk45rXBsPEnxN8Xaj8NtPkt/t/gWe2tL6Kza2iubsOQpQsBkrlRux274r6N7Y7UgVVxhQPoKAPmT4RabpOoax4Ghk8bFNS0Mhk0eLwz9kuIXERWSKaQDheuSeGIB5r6cpAqhiwUAnqcUtABRRRQAUUUUAFePeM/Dr+IP2jdPjbUdb0yKPwrIftGm3LQMW+1D5S4HI74r2GjAznAz60AfPfxf1CbS/Edz4Xn1CPS7aLQUFvqV5oh1S81hmMgaAORjK4GR1JfPSovhpb3n9qfBhpoLgNF4NvUkLo2UbZAAGz0PHQ19EEAkEgEjp7UBV4+UcdOOlAHzL4YlXw34S+DfizWIbqDStLn1GC+mFu7m2MwkWNnVQSFJGM47iqOrvH4l8G/GW9t7C+ax1PX9OaFZrV4nmixApYKQGwQDz6V9UbV27dox6Y4oKqc/KOevFAHgvx20RtE8XeB76wmg8O+GLBLqKW5j0hby3tbhkQRM8OMDKqyiQj5fbNdd+z5penWGi63eaX4mfX4dR1R7l5V042cKSFFDCKPGNpwCSOCc+9emkAjBAI9KAABgAAUAeH+FPEWnfC7x7450zxp9qsLfWdYbV9Mv/ALLJLDcxyRopTcinDqykbTz0xVb4l+NUv/E+iPF5Ph3Sr/SJJ4dY1Dw493cTt5m37IsbD5CR8+Dy2RgV7wyqw+ZQfqKCAcZAODkZoA+Z/CFwfDXw9+DHibW4b2HTdIur6K+l+yOWthLHNHGzoASi5wOnGRUkT6B4os/ivf6tPq+kaPf69p81tff2dIWQpBCY5miKktFuQE7hgg84r6UKqV2lQR6Yo2jngc9eOtAHy74p1HxN4q+GlrdNHB/ZejeLoDc6tp+jMYb60RM/ajaN99VdgGHIO3I4FeifAmx0ybxV4i8Raf42XxHLeW9tDcrb6P8AYbdShfY3A2u+CQSOQMZ7V6+AAMAAD0pFVVGFUAegFAC0UUUAFFFFABRRRQAVT10E6HfgAkm2kwB/umrlFAHylbL4m8F+BPAGv+FtMupr7xT4UtfDlwiIf9Hu/LBtrhx22hpAc+1dTZ6PL4H8Z+L7HR9BOsR6V8P7OG3tGiJS9kR59yHj5ixySOp3e9fQe1cAYGB0pcDOcDPrQB80/C7UJNW+M/hy+i1qDVV/4R+9WcWWgGwgs2PkkQbsfOQQflPK496b4N0ODUtK+BtpqulfabeG41OWSKeElUYK5QsCMdcEZ719LhVHRQPwoCrx8o46cdKAPm3x5oL/APCEfGvTtM0ljCmqW13BbQ25Iz5MDytGoHU4Ynb71J8TNRtNV8V+BvF+ka0uleE47G7gTUm0Q3VvbXRKffiYDYWUMocjsRnmvo/A54HPWk2rt27Rt9McUAfOD+F9Hn8BeHbKHUz4p0vU/H0N3Of7NNrAAwO9EixgR7hnj5SWNa/iGKTwz49+KV5ofhaHUE/4RmxnXThbfuLqQGZTlFGGwoGQOSBiveNq4AwMDpx0pcDOcDPrQB80fDi8k1L4vi8g1yLW4T4Ru45JrPQjYW8T+ZERCDj94Rz15X8TU/hbwzp2n/Bz4RX1nokdtqKa/YTSzJb7ZgZGcSFmxuwQcHPGMV9HhVHRQPwo2rgDaMDpxQB4H4Vv/CGi+KvGOh+PNFkuvEWo+JXuLYSaW9w15AxT7M0TBSNqAeo24J4ri9V0eObU/HHhrxh4z/4R+41TXbmYQSeG/tM9zAzg28kNwAWbCBAMfcK4r6w2rkNtGR0OKCqkhioJHQ46UAQ6fGYbC3haV5ikSqZHGGfA6n3NeBRX+o6D8NPiZf2+gxalJ/wmdwfKu7Rp4kjZoAZzGBmRUGXwOu2voSkwADwOaAPmPwnHpus+IPiH/a2vXesaHe+F4IbnUtO0NrION8obykUHzCoP3gD6dqi1nVtQ1b4MeOtBtZLTW7Cwh09LLXbHSmtTdEzpmNo8YZ4woJK/L83QHNfUIVV+6oH0FG1du3aNvpjigDyX4Ewv4f17xH4V8Q2jt4rNwb6fV3Qn+2bdziOYN0XaPkMY4XHAwa9bpMDO7Az60tABRRRQAUUUUAFFFFAHCftCRyTfA7xpFDG8kjaNchURSSTsPAA61w3xG1y40uTwVp8z2Oh2c2jF21260Y37RyKsYFqi4wrODnnrtwK90IBGCMikKqQAVBA9qAPlzw5a6bH8FvCF9q3iCfw/qGm61qU+mXV3ozSW5YzSqUmgxiMMjfKOCP4at+NYPGXj7R/AUmm2f9gazd6TquYIYmhikUbP3eThoVmUcHhlD19MFVIwVBHpilwM5wM0Acl8INU0XVfh/pr6FpLaLbWyG1fTWiMbWcsfyvER3IPfv17159+z34SaTT9R1ubWfElo6eJdRcWKXrR2rgXD4zFjBB/WvbgAM4AGaAAOgAoA+fvDvhW4ufhb8V59C0oJ4lv9a1lLecR7Z3O5lUIx5GVJAxxz71mfCTTtL1TxL4Okh8dh9S0W2kEWkweGvsUkWYdjxTuBwAecN1IBFfSgAHQAUgVQSQoBPU460AfH93d+Frb4NaR4XvtDnXxvYeI7d9QZ9NcSwzG/XfO8xXG11IAO47twH09I1rxBY+D/AIlfE211q31FZvEFjayaSsFlJN9sK2zRMiFQQWDdQcYBzXr3jPwzpvizRf7J1Qzrb/aILgmFwrF4ZFkTnB43KM+1bZAJBwMjoaAPlV7TUtP0T4R6tqGqNoOkWvhc2xvZ9I+3RWt2yx4Dxn/VlkDAOfQjvWyfCujS+BfCthBqR8U6VqPj+K7nZtNNtBhw5dVixgRbhn+6cmvpAqpXaVBHpjijauAMDA6cdKAPnf4i+HtR/t/4u6b4R02WCa98Mae8cNmnliZw0ocLjA3mNdvHPSt60tvhx8S/Aep+GPCemrbXp0RYfPTTHtzaspBjjZ2QfOsiqdvJGCa9rwM5wM+tNeMNG6KSm4H5l4IJ7/WgDxP9njUNR8eeINQ+IWsW0kEllYQ+H7eOUcrNF814w+suBn0Svbqw/AvhfS/Bvhm30DSPPa2hZ3Mk775ZXdy7u7YGWLMSeK3KACiiigAooooAKKKKACjvRRQAUUUUAFFFFABRRRQAUUUUAFFFFABRRRQAUUUUAFFFFABRRRQAUUUUAFFFFABRRRQAUUUUAFFFFABRRRQAUUUUAFFFFABRRRQAUUUUAFFFFABRRWN4k8R2Oi+XAyyXd/PkW1lAN0sp9cfwr6scAU0gbNS7uLe0t3uLqeKCFBl5JGCqo9yelSRusiB0YMrDKsDkEetcRFot5rNwmoeLGiuCpDQaah3W1ufU5/1r/wC0eB2FJHY6p4YkM3h1TeaZnMmku+NnPJgY/d/3Dwe2KwWJoufJza/gVyTS5rHc0Vm+H9c07XbM3GnzFtjbJYnXbJC/dXU8qfrWlW7TW5NwooopAFFFFABRRRQAUUUUAFFFFABRRRQAUUUUAFFFNkdY42kkYKigszE4AA70AOrNvPEGhWUhjvNa063cdVluUUj8Ca42e5vvGTNcSXFxZ+HiSLe3iYxyXq/89JGHIQ9lGMjk+lXrHRdHsYhFZ6XZQIOgWFf54yaUpwg7PcydR9Dc/wCEs8Lf9DJo/wD4Gx/40f8ACWeFv+hk0f8A8DY/8azPsdn/AM+lv/36X/Cj7HZ/8+lv/wB+l/wqfbQ7MXPI0/8AhLPC3/QyaP8A+Bsf+NH/AAlnhb/oZNH/APA2P/Gsz7HZ/wDPpb/9+l/wo+x2f/Ppb/8Afpf8KPbQ7MOeRp/8JZ4W/wChk0f/AMDY/wDGj/hLPC3/AEMmj/8AgbH/AI1mfY7P/n0t/wDv0v8AhR9js/8An0t/+/S/4Ue2h2Yc8jT/AOEs8Lf9DJo//gbH/jR/wlnhb/oZNH/8DY/8azPsdn/z6W//AH6X/Cj7HZ/8+lv/AN+l/wAKPbQ7MOeR0Gn6vpWoNtsNTsrs4ziGdXP6GrtcJqHh7RL/AAbjTLcSKcpLGvlyIfVXXBB/GpdB1bUNE1W30fWrp76xu28uxv5MeYknUQynuSM7W74weetxlGfw7jVTXU7aiiig1CiiigAooooAKKKKACiiigAooooAKKKKACiiigAooooAKKKKACiiigAooooAKKKKACiiigAooooAKKKKACiiigAooooAKKKKACiiigAooooAKKKKACiiigAooooAKKKKACiiigAooooAKKKKACiiigAooooAKKKKACiiigAooooAKKKKACiiigAoJwM1R1vVtP0Wwe+1K5S3hXgE8lmPRVA5Zj2A5rlJ49X8V5OprNpWiH7tirbbi6X1mYfcX/YHPqe1TOcaceabsgSbdkWtS8TXeqXEmm+E1jlKMUuNTkGbeA9wn/PV/YcDue1S6FolppRlmVpbm+uMG5vJzummI9T2HoowB6VoWtvBa28dtbQxwwxqFSNFCqo9ABUleTiMXKr7q0j/AFudVOio6vcKKKK5DYxtZ0Jbq7XVNOuX03V41CpdxDO9Qc7JF6OvseR2IqxofihmvU0fxDbppuqNkRENmC6A7xOe/wDsH5h79a0aq6rp9lqlk9lqFulxA/VWHQ9iD1BHqORXdh8a4LlnqvxX9djCpRvrHc6CiuJg1DV/Cnyag1xrGhjpcgb7q0Ho4HMiD+8PmHcHrXX2N5a31nFeWVxFcW8q7o5I2DKw9iK9SLUlzRd0c2qdmT0UUUwCiiigAooooAKKKKACiiigAooooAK5b4nsz+GBp6O0f9o3UNmzKcEI7jfj/gIYfjXU1ynxL/49NE/7DNv/ACaqi7O5E/hY9I0jjWONQiKAqqOgA6ClFLRXAZBRRRQAUUUUAFFFFABRRRQAVl+LLNb7w5fwY+cQtJE3dZE+ZGHuGANalQah/wAeFz/1xf8A9BNXTbU00J7G74av/wC1PD2nan3urWOY49WUE1oVznwv/wCSc+Hf+wdB/wCgCujrrluzoWwUUUUhhRRRQAUUUUAFFFFABRRRQAUUVHdXFvaW0lzdTRwQRKXkkkYKqKOpJPAFAElcZ4x8dR6dqDeH/Dtn/bniMpu+yo+2K1U9HuJOka+3LHsO9Yl94o1vxwzWvhCWXSfD5ysuutHia5GeVtUYcA/89WGP7oPWtbw5oWl+HtP+w6TaiGIsZJGLFpJnPV3c8ux7kmgDKsfGPiPwpJt+IAtr3S5SCNa0+ApHasx+5PFyVQZwJBkY+9jrXpNtNDcwR3FvNHNDIoZJI2DKwPQgjgiucZVZSrKGUjBBGQR6GuRi0nWvBc733ghFutMZi9z4fmk2x8nJa2c/6puvyH5D/s9aAPVaKw/B3irR/FVi9xpkzrNC3l3VpOhjuLaTukiHlT+h6gkVuUAFFFFABRRRQAUUUUAFFFFABRRRQAUUUUAFFFFABRRRQAUUUUAFFFFABRRRQAUUUUAFFFFABRRRQAUUUUAFFFFABRRRQAUUUUAFFFFABRRRQAUUUUAFFFFABRRRQAUUUy4mit4XmnkSKJAWd3bCqPUk0APrnfEXidLK6/srSrY6nrDLkW6NhIR/elfoi/qewrMuda1TxOTB4deTT9KyRJqjJiSYdxAp7f8ATQ8egPWtLRdKsNHtDbWMHlqzF5GJLPIx6s7HlifU1z18TCjpu/63/wAi4U3P0KGmaHJ/aA1jXboanqoz5blcQ2wPVYk/h/3jlj69q3KKK8epVlUlzSZ1xgoqyCiiioKCiiigAooooAK5+40a80q8k1TwtJHBLIS9xp8hxbXR9f8Apm/+0OPUGugorWjXnRd4sicFNakfhvxHZ60ZLfy5LPUYP+Piyn4ljPr/ALS+jDINbVctrui2mrCKSRpLe8gyba7gbbNCfVT6eoOQe4qGw8SXmkTx6d4s8tA7BLfVI12wTHsJB/yyf6/Kex7V7NCvCv8ADo+3+RyTg4b7HX0UAggEcg0VqSFFFFABRRRQAUUUUAFFFFABXKfEv/j00T/sM2/8mrq65T4l/wDHpon/AGGbf+TU0RU+FktFFFcJkFIzKqszsqqoyWY4AHqTS14h+1LLcalqXgLwNJqE1ho/iPWPJ1OSJ9hkjXbiMt2BJ/lTSuxpXPX5Nc0WPT59Rk1jT1srf/XXH2lPLj/3mzgfjV2GSOaFJoZFkjdQyOpyGB6EHuK8F+OPwy8F+B/gl401Dwto/wDZclxpsdvMkcrlHUTIQSpJ+b3rG8X/ABi8QaFfaN4M8M3Wj6U1l4ftbq6vdSs57kSu0SlYkSJWI4x8x4qlG+w7XPpaivANR+Lviq++GPhjxHa6l4Z8KX2omdLyPVreeV3eNto8iFFLsDySccZFZifHLxlc/A+z8WWdppL64vidNFmHlMLe4U5+ZVPKZ469PSjkYcrPpKisTwTH4oj8Owr4yuNMuNY3MZn09GSHaT8oAbnIGAT3rbqCQqvqP/IPuf8Ari//AKCasVX1H/kH3P8A1xf/ANBNVD4kJ7Fv4Yf8k58O/wDYOg/9AFdHXOfDD/knPh3/ALB0H/oAro67Z/EzojsgoooqRhRRRQAUUUUAFFFFABRRXD+L/Gl5HrE3hbwjYrf65GiNdTT5W009XGVaVurMRyI15Pcgc0AbXjLxZo/hW0il1KSSS4uG8u0srdPMuLp/7saDk+54A7kVxD6PrPjG6j1HxyqQ2CMHtfD0Um+FCDlXuGH+uf8A2fuD0J5q/wCGvDEGl3kur393Nq+vXC7bjUrkDeVznZGo4jjHZF/HJ5roKAEACgKoAAGAAMACloooAKKKKAOe8SeGItSvY9Z0y8l0bX4F2walbqCxXOfLlU8Sxn+634EHmrvhfx1KNTh8OeMrWLSNakJW2lRibTUMd4XPRvWNvmHbcOa1Kpa5pOm65pkumatZxXlpKPnjkGRnsR3BHYjkUAdnRXllvrevfD2Nv7Ylu9f8KRgn7aRvvdOT/pqOs0Y/vj5wOoPWvTrS4gu7SG6tpVlgmRZI3U5DKRkEfUUAS0UUUAFFFFABRRRQAUUUUAFFFFABRRRQAUUUUAFFFFABRRRQAUUUUAFFFFABRRRQAUUUUAFFFFABRRRQAUUUUAFFFFABRRRQAUUUUAFFFFABRRWR4l8T+HfDVq114g1zTtLhA3Frq4WPj2yeaANeivnnxx+138LdCEsWjNf+IrlMhRaw+XET/vvjj3ANeNav+1L8Y/HUzad8PfCa2JclQ1naveTjP+0RtB/4DQB9peLfE2keGLBbrVbkRmQ7YYgR5kzeij+Z6Dua43w/eWnxBabUL3VtP1CytJ/L/suxuVmghkGCPOdeJHxg4+6PfrXyvB+z7+0F8ULyHUPH2uNZR4JVtTvDI8YPULEmQv04r3H4G/DZfgONT03VNWub6w1WaNo9Q8sLbRuoIw45MbHOMklTgcis6/P7N+z3/H5Dhy83vbHtYAAAUAAcADtS0gIZQykEEZBHQilrwDvCsP4g6ldaP4D1/VrF1S7stNuLiBmUMFdIyykg8HkdK3KwfiJp93q3gDxDpdhF5t3d6ZcQQR5A3O0bBRk8Dk1ULcyuJ7GB8JvGE2qfBHRfGviu+gjkk037Xf3JURooGdzYHA4HaqvgT41+A/GWurouk3WoRXksD3FsLyyeBbqNRlmjLD5hjmvMPDPhv4pa18DZvg/rXgM6DCujtbw6w+qRSK8yMHRWjXJAYjaTk4Gah+FPw98cQeKtDutf8G6tZXehWM0Vnqd94nF3bxS+UVXy4AMhC2OM4Aro9lD3m3+KM+aWh6X4e+PHw/1zxJZ6DbSavb3F/IYrKW702SGK5cfwozDkntV5PjJ4Jf4ey+OBcXv9mRX39nvH9mP2gXG8J5fl9c5IP0rwvRPh/wDGrUvGHg6+8WaPqtw+j67HdX17c69HNA6Bj88NuMCMAemSfSuhm+EfjBvjlLYLYJ/wrqfxEniWWYSrzOsZPlbM5/1h9MVTpUr7/iJTkekeK/jr8PPDPiCfRNSvb9p7Uot7Lb2MksNmzYwsrqMKeeR2qz4u+M3gbw14gh0O6ub+9u5IIrhv7PsnuEhik+47svABBB+hrxPxX8KPH1j4v8Z29v4X1bxJoniO/ku0ax8TLYQlX6pPEQd2On0FanxJ+H/xCHiTTG+H/gyfSNRs7GztIPENrryohjRFDRXELD96FIIBxyAOvSj2VLTX8UHNI+nAQQCOhGRS1HaiZbaJbhleYIokZRgFscke2c1JXGbBUdzBDc28lvcQxzQyKVeN1DKwPYg9akqO5nhtreS4uZo4YY13PI7BVUepJ6U1e+gnbqYEEWr+FTu0lZtU0UH5tPZt09svrCx+8v8AsH8D2rlfG37Snwu8Iawmlarf6g9w0KzHyLNnCg5+VuhVgQcqRkV1UEur+Kzt0tp9K0U/ev2XbPcj0hU/dU/3z+A71j+J/wBn/wCE/iS/W/1jwstxdCMRmUXUqswGeWwwy2Sck8mvoKXtOT978X9b+f8ATOCXLze5t/WxyQ/a7+DR63+sD66c3+NPX9rj4MH/AJimqj66dJWi/wCy18E2/wCZUkX6X83/AMVUT/sqfBVv+Zcul+l/L/8AFVQFdf2tPguf+YzqQ+unSf4U9f2sPgqf+Y9fD66dL/hSN+yd8F2/5gd+v01CT/Gom/ZI+DDf8wrVB9NRegC0v7VnwUP/ADMl0Prp03/xNPX9qj4Jt/zNE4+unz//ABNZrfsh/Bo9LHWV+mot/hSL+yD8Gwcm01th6HUT/hQBsL+1F8E2/wCZtYfWxm/+JqVf2nPgo3/M4oPrZzf/ABFYEn7IHwdZSFt9cjPquoHj8xULfsd/CMnKtr49vtw/+JoA6pf2lvgo3/M7W4+ttN/8RVLVPjN8NPGmp6BofhnxVbahqMmrQukCxSKSqhiT8ygcCubl/Y2+FLfduvEMf0u1P80qKz/Zu8DfDfxT4e8VaFfazLew6pHGqXMyNHh1YHgKD+tNEz+Fnt1FFFcJiFcn8UPAOg/ETw8uj66s8fkyie1urd9k1tKOjo1dZXLfEL4geE/AVnBc+JtUW1Nw223gRGkmmPfai8n69KavfQaOOPwShuvDmtaTrfjzxTrcmq2a2X2i9nD/AGeIOr/InTJKjJPNWfFHwa0/VNT0/WNH8T674b1e00+PT5LzTpFBuoYwAokUjBIx1rofh18SvCfj6W8g8O3dy9zZBWuLe5tXglRWztO1hyDg9K7HB9DT5pId2eVa/wDBez1W08POvjPxNa6xoSSxw6us6vcypKcuHJGPpjoKgtvgToNv4HXwmmuarJbL4gXXfPl2vKZV/gJ7g9z1r0/XNV03QtLn1TWb6DT7G3AM1xcPsSME4GT25IFWbeSO4hjmhYSRyoHjZeQykZBHsRRzMLsfRQetFSSFQX+PsNxnp5L/APoJqeoNQ/5B9z/1xf8A9BNVH4kJ7Hx9pvhT9rSbT4Ljw/q2qrpEiBrFU1SFQsJ+4AC2Rxjipz4X/bNTpqmtH/uJwH+tfYfwu/5Jx4d/7BsH/oArpK7Z/Ezojsj4W/sL9tBP+Yhrp/7frc/1pP7M/bRT/l515v8At6tj/WvuqipGfCht/wBtJP49fP8A21tj/Wkz+2kn8HiA/jan+tfdlFAHwn9q/bSX/lj4gP8A2ztTS/2p+2gn/Lp4gP8A262x/pX3XRQB8KHxB+2dH10/xAf+4fAf6U3/AISz9sqPrpmvH/uEwn/2Wvu2igD4RPjr9sWPrpOun/uCRH/2SvSf2etV+J8nimXVfijDdWtzr2+yijubNbYmS2QSIwUAA5R5Bn/YxX1LXD/G2xaXwQ+tQRs13oFxHq0G37xEJzIo+sZkH40AaVFRWtxDd2sN3bOJIJ41kjYdGVhkH8jUtABRRWN401PVtI8O3F7oehya5qIKpBZJKI97McZZjwqjqT6CgDZory34U/EvX/EfjvXPBPizwxbaNq+lW6XBazvPtELIxGAT2bkfrXqVABRRRQByXxSzeaDbeGYZmiuPEN7FpqlfvCNjumI+kSvXqEEUcEEcEKBI41CIo6AAYArzjRUj1z4xuzR74fDOncMeguro9vcRJ/5Er0qgAooooAKKKKACiiigAooooAKKKKACiiigAooooAKKKKACiiigAooooAKKKKACiiigAooooAKKKKACiiigAooooAKKKKACiivIPH37SPwl8Hzy2lz4h/tO9jJV7bTYzMysDggtwoP1NAHr9Br4r8WftneINUuXsPh/4JVHfiKW8LTyk+ojTj9TXOp4b/at+L8bPqV3qmmaZMeVuphYQEHsI1wzD8DQB9feOfi38OfBcLt4g8W6bbyr/wAu8colmJ9NiZNeD+O/21fDNmGg8G+Gb7VZe0964t4vwUZY/pVDwP8AsT6fGEuPGvi6e6lzue306PYp9vMfJP5CvevA3wP+Fvg3ypNG8H6ebmMcXV0n2ibPrufOD9MUAfKEnxN/ag+LVwYvC2mX+l2L8A6da/Z4gPeaTk/gfwrV8M/se+OvEd62pfETxlFbSSHdII3a8uGPu7EKPzNfbyqqqFVQoHQAcCloA8P8Cfss/CTwyiPdaPLr90OTNqUu8Z9kXCj8jXsmkaVpmj2SWWk6faWFsgwsNtCsaD8FGKuUUAFMnijnheGaNJI3Uq6OMhgeoI70+igDirjQ9T8MsZ/Dqvf6V1fSmb54R3MDH/0WePQjpWjourWOsWn2qwm3qDtkRlKvE3dXU8qR6GukrnvEPhmO+u/7V0u4OmawoAFzGuVmA6JKnR1/UdjXPXwsK2uz/rf/ADLhUcPQt0Vh6Zrki366Pr1qNN1Uj5F3ZhufeJ/4v904YenetyvHqU5U5cslqdcZqSugoooqCgooooAKKKKACiiufn1i91a8k0zwrHHPJG2251CUZtrY9wP+ej/7I4HcitaNGdaVooidRQV2Tat4n0iwun09Lhb3VFZVGn2rCS4LMMjKA/KMc5bAA70un+GrzVriPUfFhjk2EPBpcbbreAg5DOf+Wr+5+Udh3r5M+N3wb+LHw18bXfxU8DeItS1tnkae7uYxi7iz94PGOJI+OwwB1HGa9N/Z8/ao0Hxibfw/458jQtfYiNLgnba3LfU/6tj6Hj0PavYoUI0Vdb9/8jknNzeux9KjgUUisGUMpBBGQR3pa2JCiiigAooooAKKKKACiiigArk/iX/x66J/2Gbf+TV1lcn8S/8Aj10T/sM2/wDJqaIn8LJqKKK4TIDXz54svLLRv2thqHimW1torjw55Xhy6v8A/j1iuR94EngHOc9+fcV9B1keKfDPh7xTp4sPEejWWq2ytuWO5iDhT6jPQ/Sqi7DTPnuX4ieMdW0H4s6Trd14abUNB0JZINU8Oh03F8nAkLZOPwwc1W1NE0P4ReFLzWvG3jrUNY8ZNbTBLfVUtgX8rPliVxthjwwyeSSBXvekfDrwLpGjX+j6X4V0u0sNRj8q9hihwJ0/uuepH41a1jwX4T1jw5a+HNU8P2F5pFoqLbWksW5IQowu3uMDiq5kVzI+RrybVdd+A/xP03U9d1m4tvDmp28likuqrdthjtaOSZRiVOc8YGQD2rovHN9e6Lo3w58F+HPFWtXuharby3V3cpr0cE8swVT5AumBVFXPC/hX0lpHgPwZpGmahpmmeGdMtLHUUCXlvHABHOoGAGXoeKrv8NvAMnhiPwzJ4S0p9HilM0do0AKJIerDuCfXNHOg5kcl+zLJ4oHhnWLLxHqa6jFa6iU0931OO+mjhKg+XLLHwWHvjrXrNZHhXwz4f8K6adN8N6PZ6VZlzI0VtHtVmIxuPqeOta9Q3dksKg1D/jwuf+uL/wDoJqeoNQ/48Ln/AK4v/wCgmnH4kS9iz8Lv+SceHf8AsGwf+gCukrm/hd/yTjw7/wBg2D/0AV0lds/iZ0R2QUUUVIwooooAKKKKACiiigApk8Uc8EkEyB45FKOp6EEYIp9FAHlvwtaa10G58OXQIuPD97Lppz/FEp3Qt+MTJXWVzusRSaN8YhIGAs/Eem9PS6tj/NonH/fuuioAK5T4tXul2XgLUf7b0fVtX0y4C211baZGzzmNzgsApBwO5BzXV0AkdOKAPmv9mbSprL4s+IbrwdouvaV4AnslyusQlZJLoEY2FvmIA3dSf5V9KUEk9STRQAU2WSOGJ5ZWCxopZ2PYAZJp1cp8U3mm8Lf2FaTGK7125i0uFh1USnEjD6Rhz+FAGx8E7e4k8ISeILyPZda/eS6kykcrG5AhX8IlSu5qGytobOygs7dAkMEaxxqOyqMAfkKmoAKKKKACiiigAooooAKKKKACiiigArG8UeILfQI7RprS8u5LufyIYrZAzltrN3IGMKa2a474j/8AIT8Lf9hNv/SeWtKUVKVmRNtRuh//AAm5/wChV8Q/9+Y//i6P+E3P/Qq+If8AvzH/APF0UV0+yh2MueXcP+E3P/Qq+If+/Mf/AMXR/wAJuf8AoVfEP/fmP/4uiij2UOwc8u4f8Juf+hV8Q/8AfmP/AOLo/wCE3P8A0KviH/vzH/8AF0UUeyh2Dnl3D/hNz/0KviH/AL8x/wDxdH/Cbn/oVfEP/fmP/wCLooo9lDsHPLuR3Pj+G1ga4uvDevwQJy8jQR4Qepw/SuyHIrzfxz/yKOp/9cD/ADFejr90fSsa0IxSaLpybbTFooorA1CiiigAooooAKKKKACsDxb4iGkLFZWMIvdYuwRa2oOB7yOf4Yx3P4Dmjxb4iGkLFZ2UIvdXu8i1tQcfV3P8MY7n8BzWVoWkmxaa9vLg3uq3ZDXV0wwW9EUfwovQL+J5pTmqauy6dN1HZbFJNB1iVfNvPGmvfaH+aQW0kccQY9QilCQvpyad/wAI9qH/AEOnif8A8CIv/jdb9Fcn1ur3/I6/q1LsYH/CPah/0Onif/wIi/8AjdeQN+yh8O7rXL/VdU1HXb17u4efy/OSNULHJHC88k+le/UVLxNR7saw9NbI8/8ACnwq0bwhamLwlqV/pDgfK8ccByR03ny9zD2JrvfCPiKTUJZNJ1aFLTWrZcyxKfkmTtLET1U/mp4NPrM1/SI9Uiikjme0v7ZvMtLuMfPC/wDVT0KngitqWJbdqn39jKphla8Nzs6K5zwj4ik1CWTSdWiS01q2XMsSn5Jk7SxE9UP5qeDXR10tWOVMKKKKQBRRRQAUUUUAFFFFAFLW9J0/WrBrHUrVLiFiGAbgqw6MpHKkdiOa5OZtX8J/LqLT6toi/dvQu64th6SqPvqP74GR3Heu5oPPWpnCNSPLNXQJtO6MS1uILq3jubWaOeGRdySRsGVh6gipax9S8M3el3MmpeE2jhZ2L3GmSHFvcEnkr/zzf3HB7jvUmh63aaqZYVSW1voOLizuF2zRH3HcejDIPrXk4jCSpe8tV/W51U6ylo9zUooorkNgqrquo2Wl2T3moXCW8C/xN3PYAdST2A5NUNZ1xba8XS9Ntm1LV5BlLWI4EY/vyt0Rfc8nsDVnQ/C7LeprHiC4XUdUXmIAYgtPaJD3/wBo/MfbpXdh8E5+9PRfi/67mFSslpHczrfT9Y8VYk1FbjR9EOCtqDsubsf9NCP9Wh/uj5j3I6V2FhZ2thZxWdlbxW9vEoWOKNQqqB2AFT0V6kUox5YqyObd3e4V88ftB/sv+GfHouNc8KiHQPEbAu2xcW123+2o+6x/vD8Qa+h6KYHwT8O/jP8AE/4B+IU8E/ErS72/0aJgqRztulhjHG63l6On+yTj0xX2l8PPHXhfx/oEet+FdWhv7ZwN6g4khb+66HlT9ab8RvAfhb4g6BJovirSob63IPluRiSFsfeR+qmvi34hfBz4ofs++IX8a/DfVb2/0WM5eWFcyRJ12XEQ4dP9oDH0oA++KK+ev2fP2nvDPxAEGieJ/I8P+I2wqq74trpv+mbH7rH+6fwJr6FoAKKKKACiiigAooooAK5P4l/8euif9hm3/k1dZXLfFBHXwx/aCRtJ/Z11DeMqjJKI434/4CWP4VUVd2IqfCx9FNjdJI1kjYOjgMrDoQehp1cBkFFFFABRRRQAUUUUAFFFFABUGof8eFz/ANcX/wDQTU9ZXiy8Fj4cvp/4zC0cS93kf5UUe5YgVdNNySQnsa/wu/5Jx4d/7BsH/oArpKz/AA1Yf2V4e07TeP8ARbWOE49VUCtCuyTu2dC2CiiipGFFFFABRRRQAUUUUAFFFFAHB/G+18vwlB4kiDfaPDl5HqalRyY0ysy/QxM/5CtSKSOaJJoWDxuoZGHQqRkH8q6O9toL2zms7qJZYJ42jlRhwysMEH6g15X4ct/iB4f0O10JvBa6munobeK7TWIkE0aEiNtrLkHbtyD3oA7Oiuc/tDx7/wBE5P8A4PIP/iaP7Q8e/wDROT/4PIP/AImgDo6K5z+0PHv/AETk/wDg8g/+Jo/tDx7/ANE5P/g8g/8AiaAOjrmrGNNc+MdrEQXg8Nae1y/90XNzlEH1Eauf+B07+0PHv/ROT/4PIP8A4mtn4XaLqmm2Oqalr1rFa6tq+oSXU0McokEUYASKPeOGwiL07k0AdhRRRQAUUUUAFFFFABRRRQAUUUUAFFFFABXHfEf/AJCfhb/sJt/6Ty12Ncd8R/8AkJ+Fv+wm3/pPLWtD418/yM6vwj6KKK6zEKKKKACiiigAooooAxfHP/Io6n/1wP8AMV6Ov3R9K848c/8AIo6n/wBcD/MV6Ov3R9KxxHwr5/oXS+Ji0UUVym4UUUUAFFFFABWD4t8RLpCxWdnCL3V7vItbUHGfV3P8MY7n8BzW9XnvhFVn1XxHqE37y7Orz23mtywijICID2UZPHvSlJQi5MqEeeSiXtB0k2LTXt7cfbdVu8G6umGN3oij+FF7L+PWtSiivOnNzd2ejGKirIKKKKgoKKKKACiiigDM1/SE1OKKSOZ7S/tm8y0u4x88L/1U9Cp4IrQ8I+In1CSTSdWiS01q1UGaJT8ky9pYieqn81PBp9YHjSNEj0vUEGy7ttTtVhmXhlV5kR1z6MpII712Yaq21Tlt08jkxFJWc1ud/RRRXScoUUUUAFFFFABRRRQAUUUUAFY3iXw5Y60I5maW0v4Afs17bnbLCfQHuvqpyDWzRTTA4dNavNFuU0/xYsUG47YNSjG22n9mz/qn/wBknB7GkjvdU8UO0Ph5mstMyVl1Z05f1Fup+9/vngdga63W2sI9IupdUjikskiZpllUMpUDJyDwa474R+NR4qj1C3nWOGa3mLQxKMYgJ+UY9un5VgsNRUufl1/Arnm1a51fh/RNO0Oza20+ErvbfNK7FpJn7u7Hlj7mtKiit229yUrBRRRSAKKKKAChgGBVgCD1BoooA+Zv2gv2VNB8XfaNf8B+RoWunLva422ty3XoP9Wx9Rx7d68r+Fvx/wDiB8G9eHgb4saXqF7p1uwjDTjN1bJ0DIx4lj9Ofoe1fdtcf8U/ht4R+JWhNpPinS47jaD5Fynyz27H+JH6j6dD3FAGp4J8W+HfGmgw654Z1W31GxlAw8Tcof7rDqrD0NblfAPjH4b/ABa/Zr8SP4r8Falcaj4e3/vJ4kLIUz9y5i6f8CHHoRX0V+z/APtJeE/iVHDpOqNHoXiUgA2kr/urg+sTnr/unn60Ae6UUUUAFFFFABTZEWSNo5FDIwKspGQQe1OooA87mtb7waTbvb3F74eBzbzwqZJbJT/BIo5aMdmGSBwRxmrtprmi3abrfVrGQe065H4E8V29ZeoeHPD+oyGS/wBD026c9WmtUcn8SKUoQm7vcydN9DE/tDT/APoIWf8A3/X/ABo/tDT/APoIWf8A3/X/ABrQ/wCEK8H/APQq6J/4Ax/4Uf8ACFeD/wDoVdE/8AY/8Kn2MO7FySM/+0NP/wCghZ/9/wBf8aP7Q0//AKCFn/3/AF/xrQ/4Qrwf/wBCron/AIAx/wCFH/CFeD/+hV0T/wAAY/8ACj2MO7DkkZ/9oaf/ANBCz/7/AK/40f2hp/8A0ELP/v8Ar/jWh/whXg//AKFXRP8AwBj/AMKP+EK8H/8AQq6J/wCAMf8AhR7GHdhySM/+0NP/AOghZ/8Af9f8aP7Q0/8A6CFn/wB/1/xrQ/4Qrwf/ANCron/gDH/hR/whXg//AKFXRP8AwBj/AMKPYw7sOSRhX/iPQ7MES6nbvJ/DFC3myMfQKuSTUug6RqOt6rb61rVq9lY2reZY2EmPMaTHE0voR/CvbOTzXU6bo+k6YP8AiW6XZWfY+RAqfyFXquMYw+Hcap66hRRRQahRRRQAUUUUAFFFFABRRRQAUUUUAFFFFABRRRQAUUUUAFFFFABRRRQAUUUUAFFFFABRRRQAUUUUAFFFFABXHfEf/kJ+Fv8AsJt/6Ty12Ncd8R/+Qn4W/wCwm3/pPLWtD418/wAjOr8I+iiqmtLcvo18lkSLpraQQkf39p2/riusyOB8TfHD4c+H9buNHutWubu7tTi6FhZyXC257h2UYFd3oGr6dr+i2mtaRdLd2F3GJYJlBAdT355H418vfC7xVceGfgKR4T1Hwpp/ibTbi7l8R2uuAi4nZSSAoyCzHGBnjtW/pHjm6uPGHwZ1rVNQttE03VdKvHu4IZPs9mZMHGVzt64xnuayU+5Tie3fETxfpfgXwy/iDWkuGtFmihIgTc26Rtq8E9MmmaL400nVvHWseDbVLn+0tJt4bi4LJiMpIAV2nPJ5Ga+YfF+uz6/8Kfibctq0upWaeN7ZbKQzmRFi8wYCdgv04rqta0fUtd+LXxfsNGvrux1P/hHrGa0mtpSjiWNUZRkc4OMH60e0dw5T6Zor55+CfjXVvin8StI1VLy7j07w94djXUoldljm1CUlTuXo2ApPtX0NWkXdXJasYnjshfB+qMxAUW5JJOABkV20fiDQWUbdb008drpD/WuA+KFq198OvEFiriNrmwlhDEZCllxn9a+dU/Yj8QBcj4g6fnHaxkH/ALNWWI+FfP8AQql8TPs5dY0lvu6pYt9Lhf8AGpV1Cwb7t9bH6Sr/AI18VP8AsU+Ll/1PxA00/W3lH9ajb9jHx4v+r8e6Wf8AgMwrlNz7dW4t2+7PE30cVIGU9GH518Mt+xz8S1/1fjjSj/20nH9KY37IPxYX/V+NdKP/AG9Tj/2WgD7qyPUUV8J/8Mk/GNP9X400z8L+4H/stH/DKvxxj/1fjWx/DVLgf+y0AfdlefeCv9Z4i/7D13/MV8rD9mP9oCP/AFfja3/DWJx/Svev2ZtB1zwz8ObjQ/El4LzVbTV7pLmYTGXe24c7jyazrP8AdP5GtD+Ij1Ciig9D9K849A8p8L/HTw74k8RR6PpPhzxVOHvjYm8XTibaOQNtJZwcADv7V1fw08c6f48stVutNs7q2XTdTm06QT7cu8eMsME8HNeJfsnab4+ntr6+0nxXp1p4aj8TXX2vTZNPEk02GG7Ev8ORj6YrhE1a+074W6rbLqV3pWiah8R57XWr21Yq8NscZG4fdB9fauh04vRHOqkt2fahB9KMH0NfItjqP/CJ+LvHth8G9evtY0G28JNeEi7a7jtrzcACjHPzbcn8/SqHhiXw7puq/C3V/h/4y1PV/FusX8K69btqDzGSNgDN5sZOECncPwz71PsfMftfI+p/iR4rs/A3gnUfFeoWtxdWtggd4oMb2BYLxnjvWzpd2moaZa38assdzCkyq3UBlBAP518NeOZvD2seBfiJrfivxbqUfjyPWpbW30171kBt1kG2MQ9GTGTnttFfbHg7/kUNF/7B9v8A+i1pTgopFQm5NmrWB46Yrpdjjvq1iP8AyYSt+uf8ef8AILsP+wvY/wDpQlVhv4sRV/4cj0Ciiiu44AooooAKKKKACiiigAooooAKKKKAK+o2drqFnJaXtulxbyD543GQ31rlPhtouhWsVxf6d4eu9Kn894/9LH7wrx05+4e1dk5whJOMDrXNfDe4t7nQZJrbW7zWIzcuPPukKOpGPlwewoA6aiiigAooooAKKKKACiiigAooooAbNHHNE8M0aSRupV0cZDA9QQeor5Y+P/7J+m61JN4k+GbRaPqwPmPpu7ZbzN1zGf8Alm3t936V9U0UAfDvwh/aT8ZfDXWB4H+MWnahPb2zeWbmZD9stR23Z/1qe/XHQmvs7wr4i0TxTokGteHtTttSsJxmOaB9w+h9D6g8iuY+L/wn8G/FHRjY+JNPH2lFItr+EBbi3P8Ast3H+ycivjfXvCfxi/Zd8Strnh68k1Lw1LJ88yIWtpl7LPH/AANj+L8jQB+gdFeN/AT9oTwf8UreKxMi6N4iCjzNOuJB+8PcxN/GPbqPSvZKACiiigAooooAKKKKACiiigAooooAKKKKACiiigAooooAKKKKACiiigAooooAKKKKACiiigAooooAKKKKACiiigAooooAKKKKACiiigAooooAKKKKACiiigAooooAK474j/8AIT8Lf9hNv/SeWuxrjviP/wAhPwt/2E2/9J5a1ofGvn+RnV+EfRRRXWYnJeIfhr4A8Qam2qa14Q0i+vmOXnltxvY+5HX8at634G8H63o9no+reGtMu9Psv+PW3kgGyH/dHauiopcqHdnMD4feCRpV1pK+F9MSwu547i4tlh2xySJjYxA7jAxWna6DpFjrV9r1jptrDq17EsVxchcNKqD5FY+gwK1KKLILnnnwM+Hcnw+0XVUvrmzutU1bUZL67ktIykS7j8qIDzgDP516HRRQlZWBu5i+Of8AkUdT/wCuB/mK9HX7o+leceOf+RR1P/rgf5ivR1+6PpWWI+GPz/Qql8TFooorlNwooooAKKKKACvPvBP+s8Rf9h67/wDQhXoNee2gfw34jvtO1JQtvq1/Ld2N3/A7yYJhb+64xx/eHTnipqpyptI0otKomzoqKKK8w9Ep6PpOl6Pbvb6Tp9rYwvK0zpbxhFZ26sQO59arw+HfD8OnXenRaJp6WV5I0t1bi3Xy5nbqzLjBJ9TWpRTuxWRm6DoGh6Bava6Ho9hpkDnc8drAsasfU4HNQaR4U8MaPqMupaT4d0qxvZs+ZPb2qI7Z68gZrZoouwsjEv8Awh4Uv7+5v77w3pFzd3UZiuJ5bRGeVD1ViRkitmGOOGJIYUWONFCoqjAUDgAU6ii7CyCuf8ef8guw/wCwvY/+lCV0Fc7q5fxBrFtoGmr5hs7y3u7+4/5Z24jcOE93bA+XsDk1vhYt1U+xjiGlTfmehUUUV2nCFFFFABRRRQAUUUUAFFFFABRRRQBn+ItXs9D0mXUdQlMNumAX2FgpPAyBzjNc78MfE1vrVlLatqNne30TM8htLZ4o1Qn5fvDrV3x3q2lQadLo93BNqF1fRMkdhbKHmkU8bsdFA/vEgVjfBDT9L03wvJHaXHm3zTE3qOu2WJuioynlcD8+cU+V2uK6vY76iiikMKKKKACiiigAooooAKKKKACiiigAqK8tre8tZbW7gjuLeVSkkUihldT1BB4IqWigD5G+Pf7JyS3Enin4TSf2ffxt5zaV5hRCw5zA/wDA2einj0IrC+Cv7UWv+ENSHgv4yWV6fszeT/aEkRFzbn0mT+Mf7Q5+tfa1ecfGr4M+DPipphi1yzFvqaLi31O3UCeL0BP8a/7J/DFAHc6DrGl69pMGraLqFvqFjcLuingcOjD6ir1fnzdWHxn/AGV/EpurSQ6l4Ynl5Zdz2VyM9HXrFJjvx9SK+sfgZ8dfBfxVskhsLkadripmfS7lgJAccmM9JF9xz6gUAeq0Vm6/rul6FAs2pXSxGQkRRgFpJT6Ig5Y/QVhp4yvLgb7TwlrLxn7rTNDCSPXaz5/OqUXa5LnFbnXUVyL+LNaBGzwbfN9b23H/ALPTf+Et1z/oS7z/AMD7f/4qjkfdfehe0idhRXH/APCW65/0Jd5/4H2//wAVR/wluuf9CXef+B9v/wDFU+R9196D2kTsKK4//hLdc/6Eu8/8D7f/AOKo/wCEt1z/AKEu8/8AA+3/APiqOR9196D2kTsKK4//AIS3XP8AoS7z/wAD7f8A+KpU8Wa0T83gy9A9r23P/s9Lkfdfeg9pE6+iuRbxv9lYHVfDms2UR6zLGk6J7t5bEge+K6XTNQstTso73T7qK6t5B8skTblNDi0rjUk9izRRRUlBRRRQAUUUUAFFFFABRRRQAUUUUAFFFFABRRRQAUUUUAFFFFABRRRQAUUUUAFFFFABRRRQAUUUUAFFFFABXHfEf/kJ+Fv+wm3/AKTy12NcR8VLq1srvwxcXlxDbQrqjbpJXCqP9Hl6k8VtQ+Nf10M6vwlmisj/AISfw1/0MOk/+Bif40f8JP4a/wChh0n/AMDE/wAa7OV9jC6Neisj/hJ/DX/Qw6T/AOBif40f8JP4a/6GHSf/AAMT/GjlfYLo16KyP+En8Nf9DDpP/gYn+NH/AAk/hr/oYdJ/8DE/xo5X2C6Neisj/hJ/DX/Qw6T/AOBif40f8JP4a/6GHSf/AAMT/GjlfYLoZ45/5FHU/wDrgf5ivR1+6PpXkvjHxF4fuPC+oQwa5pksrxbURLpCzEkYAGeTXrS/dH0rDEpqMb+f6GlJ6sWiiiuQ3CiiigAooooAKp6zpllq+nTafqECz28owynt6EHqCOoI6VcooTsBwNpPe+H9Si0LXZmmilO3TtRfgTjtFIe0o9f4hz1zW9WprOmWWsabNp+oQLNbyjDKeCPQg9iDyCOlcba3F7oGpRaFrkzTRSnbp2ovwJx2ik9JR+TDkc5FYV6KkuaPzR00a1vdkb1FFFcJ2BRRRQAUUVh6heX2qam/h/w/IEuFA+3X2MpZIew7NKR0Xt1PvpSpSqOyIqVFBXYaheX2q6k/h/w/IEnXH26+xuSyU9h2MpHRe3U+/W6BpFjoemR6fp8WyJMsxY5aRj952PUsTyTRoGkWOh6ZHp+nxFIkyWZjl5GP3nY9WYnkmr9eilGC5Y7HnSk5vmkFFFFAgooooAKKKKACiiigAooqjrerafoti17qVwsEIOBnlnY9FUDlmPYDmhK4XLxOASTgVyGoeJbzV7iTTvCQjdUbZcarIu6CH1EY/wCWr/T5R3Paqs0WreLDv1RZtK0U4KaerbZ7kf8ATZh91f8AYH4ntW/awQ2ttHb20McMMahUjRQqqPQAdK5K+MjT92Gr/Bf5/kaQpOWr0RQ0LRbPSVkeNpbi7nwbm8nbdNOf9pvT0AwB2FRazocd5dJqVjcPp2rRgCO8hAywH8Ei9HT2P4EVsUV5ir1FPnT1Ol04uPLbQzdD8USLex6P4kt00/U34hkU/wCj3fvGx6H/AGD831611Fc/qmn2ep2T2V/bx3ED9Ucd+xHoR2I5FZEF9q/hMBLw3OsaEuAJwN91aD/bA/1qD+8PmHfPWvWoYqFbTaX5+n+RyzpuHmjt6KgsLy1v7OK8sriK4t5V3RyRsGVh7Gp66CAooooAKKKKACiiigAooooAKKKKACiiigCtqmn2Oq6fPp+pWcF5ZzoUmgmQOjqexB4NfJfxb/ZY0zRPEdv408Ea9PoOmW9wJry1V2823Gf+XZhzkn5Qp6EjntX17XKfEw7tM0uBuUm1a2Vx2IDFv5qKcbX1Jk7JmP4a0maALqmsSNdazNGBJLIdxhXAxEmegHc/xHJNbtBorjlJyd2YpWCiiipAKKKKACiiigAooooAKwL7PhfUf+Ei09WSzdwNVtU+46E488Ds69SR1XOe1b9VNahW40e+gkAKyW0ikH0KmtaM3GS7Cfc7BWDKGUggjII70tYfw+uZLzwLoV1KSXksIWYnudgrcrpas7HQndBRRRSGFFFFABRRRQAUUUUAFFFFABRRRQAVDe3VtY2kt5eXEVtbQoXlllcKiKOpJPAFY3jTxdpPhW0je+aWe8uDts7C2XzLm6f+7Gnf3JwB3Irim0XWPF13HqXjry1tI332ugQvut4v7rTt/wAtpB6fcU9AetAHceEfFvh3xZbzT6BqkV4IH2SqAVdPQlWAIBHIOMEcjNblec+IvC9vqV3Dq2n3U2j65bKFt9RtQA4Uf8s5F6SR/wCw34YPNWvC/jq4i1KHw542todK1iT5ba6jJ+xagf8Apkx+6/rG3PpuoA7yiiigAooooAKKKKACiiigAooooAKKKKACiiigAqG7tbW7QR3VvDOgOQsqBgD64NTUUAUP7F0b/oE2H/gMn+FH9i6N/wBAmw/8Bk/wq/RTuxWRQ/sXRv8AoE2H/gMn+FH9i6N/0CbD/wABk/wq/RRdhZFD+xdG/wCgTYf+Ayf4Uf2Lo3/QJsP/AAGT/Cr9FF2FkUP7F0b/AKBNh/4DJ/hR/Yujf9Amw/8AAZP8Kv0UczCyKA0XR1YMuk2AIOQRbpx+lX6KKVx2CiiigAooooAKKKKACiiigAqnrOmWWsabNp+oQia3lGGU8EHsQexB5BHQ1cooTsBxsPhnxVbxiCHxZbSRJ8sbXGmb5NvbcwkG4474Gad/wj/i7/oaNN/8FB/+O12FFPTsvuQ7y7v7zyL4wr8SfDXw71XV/DmoQ6xqsUYFvbWujEuSWALf6w8AZPQ9K+adA/ax8aWOpjTvGmk29p5fyzPBYETK3vG7qP1Ffedcx42+H/grxpbtD4o8NabqeRgSSwjzV+jj5h+BqbRvey+5D55W3Z5V4B+KHh3x9CkGkfFXSLW6mG021zpX2a5XP93fKQT6EbhmvbPD+k2OiaXHYafHtiXLFidzSMers38THqTXy/8AEP8AYt8OXqyXXgbxBdaTPnKW17++h+gYfOP1rzc6T+1J8D5d9jJqWraPCOkLG/tSo9UPzJ+Qqr6WSJd3uz74or5A+H37aVoWWy+IHhaa0mVtr3WnHco9d0TnI/An6V9F+Afir8PvHUUZ8M+KdPvJnAP2ZpPLnHsY2w2fwpAdpRRRQAUUUUAFFFFABRTLiaK3heaeRIokUs7uwCqB1JJ6VxtzrWqeJnNv4dd7DSuRJqrJ88w9LdT2/wBs8egPWk2ormk7IOtkafiHxPHZ3f8AZOlW51PWGGRbo2EhB6NK/RF/U9hWfpehyfbl1jXLoalq2PkcriK2HdYU/h/3vvHuavaNpVjo9p9msYdik7pHYlnlbuzseWY+pq9Xl4jGOfuw0X4s6adG2stwooorhNwooooAKBRRQBz9xo15pd5JqnhaSO3mkbdcWEhxbXJzycD/AFb/AO0OvcGtzw54js9ZMlv5ctnqMA/0iyuBiWP39GX0YZBqSszXdFtNWEckjS215Bzb3kDbZoT7HuPVTkHuK9HD45r3auq79f8AgnNUodYHU0Vx+n+JLzSbiPT/ABb5cYdtlvqka7beY9lcf8snPoflPY9q7AcjNel0utjnuFFFFAwooooAKKKKACiiigAooooAK5T4lf8AHpov/YYt/wD2aurrlPiV/wAemi/9hi3/APZqaIn8LJaKKK4TIKKK4H41fEN/AWj6emnaW2r69rF2LPS7ENtEkh6lj2UZH500rgjvqK8T8VeNPjD4T+HfifWvFGheHLa4sbFLixu7GZpYvMMiqYpEY5yAxORxxXaX/wATfCHhvw9od54y8RWGlXWpWUVwsb7iWLKCSFUEhcnr0p8rHZncUVyPiD4meAdA0bT9Z1fxVp9tp+pKWsp9zOs4HUrtBJxkU9/iP4FTwra+KW8T2A0S6uBaw3uW8tpTnCHjKng9cY70rMLM6uisrwr4i0TxVo0es+HtRh1HT5HZEuIgdrMpww5APBFatIQVBqH/AB4XP/XF/wD0E1PUGof8eFz/ANcX/wDQTVQ+JCexa+GH/JOfDv8A2DoP/QBXR1znww/5Jz4d/wCwdB/6AK6Ou2fxM3jsgoooqSgooooAKKKKACiiigAooqnreq6bommT6nq17BZWcC7pJpnCqo/x9upoAuVwXiTx1cXWoz+HfA9vDqeqRHZdXspP2LTz3EjD78npGvPqVrJvdQ8RePyY4De+G/CrcFuYr/UFz27wREd/vkH+Gui0jTdP0jTotO0uzhs7SEYjhiXao/xPqepoAy/DXhi20m6m1S7up9W1y5GLnU7rBlcf3EA4jjHZF4+p5rfoooAKp6zpen6zpsum6rZw3lpKPnilXIOOh9iOoI5FXKKAOTsdU8QeAAI75rzxF4VQACfBlv8AT1/2wOZ4gO4+cDqG616Po+p6frGmwalpV5Be2c67opoXDKw9iKxK5S78Paloeoza54FnhsrqVt93pcxIsr455JA/1Uh/56KOf4gaAPUaK5nwX4003xK01kYptN1m1H+l6Xd4WeHnG4dnQ9nXIP6V01ABRRRQAUUUUAFFFFABRRRQAUUUUAFFFFABRRRQAUUUUAFFFFABRRRQAUUUUAFFFFABRRRQAUUUUAFFFFABRRRQAUUUUAFFFFABRRRQBwnxA+EHw58dRSDxF4VsJrhwf9KhTyZwfXemCfxzXzr4+/YuMM39ofDvxZJbyodyW2o5yp7bZUGR+I/GvsWigD4HTxT+1D8EXaPWbbUNU0iHgtdx/brbaO4lX5lH1I+len/Dz9s/wnqIitvGuh3miXB4e4tf38GfXH3wPwNfVDKrKVZQykYIIyDXl/xE+APws8cK8mpeGYLO8bJ+16f/AKPLn1O3hvxBoA6/wb448IeMrX7R4X8Rabqq4yVt5wXUf7S/eH4iuir4o8Y/sdeKtCvzqvw08YeY8Z3RRXLm2uEPoJU4P4hawLX4x/tHfB51s/G2j3Wo2EbYDarblwR6LcJ1/EmgD72rK8R6/p+h26Pdu7zynbb20K75p2/uoo5P16Dua8W+GP7RsPxF0SZ9L8NXGkXkMkcE93eyB7G3dwcFpFwT0OFIGfWvUdE0OGxuJNQuLiTUNUnH729mwWI/uoBwieij9ayr1o0Ypy67DhFzdkVDpmpeIplu/FG2O0Vt0GkRtujX0Mx/5aN7fdHv1roQAoCqAABgAdqWivGrVp1XeR2QgoLQKKKKyLCiivEP2soPFkml+HrjS4dduvDMF4z+ILfRJTHePFgbSpHO0fNnHtmrpw55ctxSdlc9uYhfvEL9TigMpJAYEjqAelfLGs6v4Ab4LeHJvDd7rfiXTW8YWqeXqmoSLc2UzH7jEc4GMhTwc9ap+Jde8VeH7z4/ar4VkEd3bahamS4MxR7aLYd0kfqwOBj3NbLDt9f6uR7Q+tKK4f4Hap4t1n4b6XqPjK0tIL+aCNont5/N8+IxqVlc9nbJyK7iueSs7Fp3QUUUUhkd1BBdW8ltcwxzQyKVeORQysD2IPWsCGPV/Ch3aYs2q6KDlrFm3XFsP+mLH76j+4efQ9q6Oit6GInRem3YznSU/Us6Lq2n6zYre6bdJcQklSRwUYdVYHlWHcHmrtcXreki2nm1/Sb6LSNQRC00z/8AHvOo7TL0I/2uGHr2r5/+L37WHiDwV4rj0e08G2E8RtY5jJcTyDzC2fmQgcxnGQcDNezSqRqx54HG04vlkfWlFfDqftv+JP4/Amkn6Xkg/pU6ftwa1/H4B08/S/f/AOJqwPtuivipP24dQ/j+H9qfpqLf/EVMn7cUv8fw8Q/TU/8A7XQB9n0V8bp+3HF/H8OXP01Uf/GqlX9uOx/i+HFx+Grr/wDGqAPsOivj9f24tM/i+Hd4Ppqq/wDxupF/bh0X+L4fagPpqSH/ANkoA+vK5T4lf8emif8AYZt/5NXzkv7cHh/+LwDqg+l9Gf8A2Wrvh79p7RPif4x8OeErPwtqGnTz6nHKJpbhHUBFYkYAzTRM/hZ9C0UUVwmIV5F+0d4c8TXk3hLxn4T07+1dQ8Lan9rewBw88TY3bfUjb0969do6GmnZjTseB/E3xT4m+I3wi8XaVZfDbxJpSf2ehja+jAknm81P3ccY5bAyc+1cZ498JeK9K8e6f4kl0rxPc6beeGrSxD6NZ29zNbSJGFeJ0mRgoJycjHXr1r6vyc9aKpTt0HzHy1faX4t8LeAfA2meH/DPidNFH2tr1v7OtrrVbVnfKJh1KRq3XgdPpWJYeB/FTfAJdFvfDGqm6fx/HcyWk9uDIbc/edlUbdvPJA2+nFfYGTS8+9HOPmILS1tbO3W3s7eG2gT7scSBFH0A4qaiioICoL/mxuB/0xf/ANBNT1BqP/IPuf8Ari//AKCaqPxIT2Pmvw9+2L4b8OaJZ+H5vBurTyadCtq8qXUYDlBtJAI6HFaA/be8Kd/BGtD/ALeYq9h+H3w0+Ht/4E0O8vfBegz3E1hFJLLJZIWdioJJOOSTW03wj+GDfe8B+Hj/ANuKf4V2z+JnRHZHgy/tu+EP4vBeuD/tvF/jUi/tt+Cz97wfro/7axf417i3wd+FjdfAPh7/AMAk/wAKjb4L/CdvvfD/AMP/APgGtSM8WX9tjwN/F4U18f8AAov8aev7a3gLv4Y8QD/v1/8AFV7E3wR+Ebdfh74f/wDAQVGfgX8Hz1+Hfh//AMBhQB5Kv7anw9/i8O+IR/wGP/4qnr+2l8OT10HxCP8AtnH/APFV6qfgR8Hj/wA070H/AMB//r0xvgH8G26/D3RPwjI/rQB5iv7aHw176N4iH/bGP/4upF/bO+GB+9pfiIf9u8f/AMXXor/s9/Blv+af6UPpvH/s1Qv+zp8F2/5kPTx9HkH/ALNQBwi/tl/Cs9bDxEP+3VP/AIupPht8QvC/xm+JGqahGupXVlpsEMukWt/GEhiccTOIwSGkDFDuOSAwxiuxf9mz4Kt/zI9qPpPKP/Zqq6z4B8M/C2LQNX8G6OmnWMGreVqKK7NmK6CwliWJOFcRH04NAHoFFFFABRRTJpYoYXmmkSKJFLO7sFVQOpJPQUAPorK8NeI9B8S2k154f1a01S3hlMMkttIHVXABK5HfkVq0AFFFFAHFfGK0tF8JXGtpHMmt2KgaTdWrbLiO4dgsaqw6hmIBU5BGcivU9NS6j062jvpVmulhQTyKuA7gDcQO2TmvOdehl1r4heFtAjYfZrWSTWb4eqw/LCv4yuD/AMAr06gAooooAKKKKACiiigAooooAKKKKACiiigAooooAKKKKACiiigAooooAKKKKACiiigAooooAKKKKACiiigAooooAKKKKACiiigAooooAKKKKACiiigAqK7t7e7t3t7qCKeFxh45UDKw9CDwalooAw9B8H+FtAtL600Xw/p1hbahIZbuGCBVSZiMZZenQVjXOj6p4XJn0FJdS0gEs+mM2ZYB6wMeo/6Zn8D2rtaKUoxkuWSug2d0c5o+qWOr2f2rT5xLGGKuMENGw6qynlWHoau1S8QeGFurw6vo1wNM1gDBmVcx3A7LMn8Y9+o7GqOla4z3w0jWbX+zNWx8sLNmO4A6tC/8Y9uo7ivKxGDdP3oar8V/Xc6ada+ktzboooriNwriviT4d8bavdafqHgnxuPDl1aq6Swz2YuLe5VsYLKejLjgj1rtaKcZOLuJq54QP2fpI/BkWlL4nFxq0/iWHX9Tvprbas8iE5REU/KOeK3Z/g6bx/ifHe60ot/HBQx+VCd9ptXAzk4bnB7cV61RWnt59yeRHI/CTw74i8KeC7XQvEniCDW7i0AignhtfJVIVUKiY7kAdT6111FFZt3dykrBRRRSGFZuu61Z6QkazeZNdTkrbWkC7pp29FX+ZPA7mqN1rV3qV5LpXheGO7uYyVuL2TP2a0PoSPvv/sD8SK2/Dfhuz0eSS7eSS+1Ocfv76fBkf/ZHZF9FHFejh8C371XRduv/AADnqV+kTLsPDd7rE8eoeLPLMaNvt9KjbdDH6GU/8tX/APHR2B610lzpmm3Lh7nT7SZwAu6SFWOPTkVbor0lZJJbHOZraBoLfe0XTT9bVP8ACmHw14cb72gaUfrZx/4Vq0UAY7eFfC7fe8N6OfrYx/8AxNRt4O8It97wtoh+thF/8TW5RQBz7eCPBjfe8JaCfrp8X/xNRnwD4Gbr4N8Pn/uHRf8AxNdJRQBzDfDvwC33vBfh4/8AcOi/+JqNvhr8PW+94H8On/uHRf8AxNdXRQByDfC/4cN97wL4cP8A3Dov8K5/xd4D8FaDPoWpaL4U0bTr1dXgVZ7azSNwCGyAQM816fXJ/Ev/AI9NE/7DNv8AyamtyZ/CyavNf2jvGmreCfh19r0Dy11jUL2HT7OSRcrE8h5fHsBx716VXFfGnwHH8RfAs/h/7abC7WZLmyugu7yZkOVJHp1Brija+pktzjpPAvjHwj4Y1rWbr4n67rX/ABI7w31reAFDN5LFXhI5j2t+lc38B/jFcW/hnwH4c8Q+G9eSLVl+xW2vXThormcE8DJ3EdBuNddp/h341appl9pXi7xD4XNjJpdxaBbK3fzLqR4iiPIzD5QCQTt61Qg+E3iCPwh8KtIN5p5n8Iaglzfne22RRniPjk898VenUq6L/jL4z3nhPWZU1j4d+IINCivVs21dnjEZLNtDhM5Kk9KTxl8bDofjDXPDGm+Btb1+60e2ju5pLNl2CFk3M7E/dwMcc5rzrxd+z7471jVtYZtS8M38d3qv2+HUr1Zjfqm8MIQ3KooHYV6nY/D3WIPiL478RNdWn2XxDosNhaoGO9JEj2kvxgDPpmi0QtExvD37QOm6vq3hxW8H6/Y6L4huBaWWrXKqInuD1QAEkgHjd+NcV4b+Kus+DfF3xRlufDXiLxLp1lrrSTTwSgw6fAMjHzHj/dHpXVW/wf8AEUfw8+GXh1r3TvtPhXWUvr1t7bJEDMSE45PPfFZ2s/Cf4ppd+O7fw74g8O22leMdQkkuUuInaWGFuNysBjcQWBH60/dDQ63xJ8bNNtrnSLHwr4d1PxXf6npq6otvZsqeTbN0Zy3frx7VT1H4/aLF4Z8K65p3h3VtT/4SOee1htINvnxXEWAYyvcliBkH3rm/GH7P97Hqehal4VXw7qh0/RotKuLTxBAzxSeX92VSvIbrW5a/CfXI3+G8oTw7Yt4b1O4vdQg06JoYGEmMCJcHJ45zilaIWieteGr+71TQbPUL/SrjSbqeIPLZTsDJA391iOCas6j/AMg+5/64v/6CanFQaj/yD7n/AK4v/wCgmph8SM3sWvhd/wAk48O/9g2D/wBAFdJXN/C7/knHh3/sGwf+gCukrtn8TOiOyCiiipGFFFFABRRRQAUUUUAFY/jXRI/EnhHVdCkbaL61eFX/ALjEfK31BwfwrYooA888A6tJrXg7TNQuCPtRh8q6A/hnjJSQf99q1btcr4fjj0P4h+KPDSgpFcSJrVop6bZsrKB9JUJP++K6qgAqlrmj6Zr+mS6RrFnHe2NwVE0EmdsgDAgHHUZA471drL8V6FZ+JfD93oeoS3cVtdKFke1mMUoAIPyuOR0oA8h/Y6hit/CvjCCCNIoo/FV2iIgwFACgADsK9yrz34a/B/wh8PdZm1Xw7JrCzTRvHIlzftLG24glip43fKOetehUAFFFYvjnWf8AhH/CGqawqGSW3t2MEY6ySn5Y1HuWKigBnwphTVPEfinxdv8AMSe7XS7M9hBbZDEfWVpP++RXodYXw/0NfDfgvSdEUfPa2yrKf70pGXb8WLH8a3aACiiigAooooAKKKKACiiigAooooAKKKKACiiigAooooAKKKKACiiigAooooAKKKKACiiigAooooAKKKKACiiigAooooAKKKKACiiigAooooAKKKKACiiigAooooAKoa7o+na3Ymz1K3WaPO5Gzh427MrDlWHqKv0U07A1c4aWfVvCreXrLS6lo2cJqSpmW3HpOo6j/poB9QOtdBBLFPAk8EiSxSKGR0YFWB6EEda2GAZSrAEHgg965C+8N3uizSX/AIT2eU7b7jSZG2wyepiP/LJ/b7p9B1rir4ONT3oaP8P+B+RpCq46PVG1RWboWtWerxyCDzIbmAhbm1mXZNA3oy/yPQ9jWlXlSjKD5ZKzOtNNXQUUUVIwoorI1rXYrG5j0+1t5NR1WYZisoCN2P77noif7R/DNXTpyqS5Yq7JlJRV2X9SvrPTbKS8v7mO3t4x80jnAHt7n2rGgtNX8WfNcLc6NoR/5Z/cu7se/eJD6fePtV7RvDE0l7FrHiaeO/1BOYIEB+zWn+4p+83+2efTFdTXr0MLCjq9ZfgvT/M5J1JT8kV9NsbPTbKKysLaK2tohhI41woFWKKK6SAooooAKKKKACiiigAooooAKKKKACuT+Jf/AB6aJ/2Gbf8Ak1dZXKfE/EejWF452xWuqW0sjHoq79pJ9vmpx3In8LJaKO9FcJkFFFFABRRRQAUUUUAFFFFABVfUf+Qfc/8AXF//AEE1Yqjr9wlroV/cyHCxW0jH8FNVD4kJ7Gh8Lv8AknHh3/sGwf8AoArpKxfAlnJp/gvRbGUESQWMKMD2IQZrartl8TOiOyCiiipGFFFFABRRRQAUUUUAFFFFAHnvxVRtL8R+FvFSRjy4rttLvW9IbnAVj7CVY/8Avo1uVZ+IGht4l8FatoccgimurZlgk/55yjmNvwYKfwrnPBWtDXPCemarKyJPcW6mdNw+SUfLIv4MGFAG1RTfMj/56J/30KPMj/56J/30KAHUU3zI/wDnon/fQo8yP/non/fQoAdXLeKI5NY8a+FfDUY3Qm6bVb3uPKt8FAfrK0f/AHya6fzI/wDnon/fQrE+GUS6t4z8U+KfMEkSSpo9kR0CQfNKR9ZXYf8AAKAPQ6KKKACiiigAooooAKKKKACiiigAooooAKKKKACiiigAooooAKKKKACiiigAooooAKKKKACiiigAooooAKKKKACiiigAooooAKKKKACiiigAooooAKKKKACiiigAooooAKKKKACiiigDD8SeG7TWJI7yOWSw1OAfuL6DiRf9luzp6qePpWNaa1d6fex6T4ohjtLqQhbe7jz9muz6KT9x/wDYb8Ca7Wq+pWNnqVlJZX9tFc28ow8ci5BrOrShVVp/eOMnB3iUaRiFUsxAAGST0Arnri11rwmC1ul3rmiDAES/PeWo9s/61Pr8w96fbaJqfiZluPEaPY6Xw0elK/zy+9ww6/7g49c1wRy+fNZvTv8A8A3eIVttRi6lqXiOZrXwwRFZg7ZtXkTMY55WFT/rG/2vuj36V0nhzQdP0K2aKzR3llO6e5mbfNO3952PJ/kO1aMMUUMKQwxpHGgCoiLhVA6AAdKfXowhGnHlgtDnbcneQUUUVQBRRRQAUUUUAFFFFABRRRQAUUUUAFFFFABVTWNPtdW0u5029jElvcxmORfY/wBat0U07aged6bqE+k3SeH/ABFIIr1Pktbp+I75B0ZT034+8vXPI4rerd1LT7HUrRrTULSC6gbrHKgZT+Brmn+H2iBj9ku9bsU/5522pzKg+g3HFRKlCTvexi4SWxY5o5qt/wAK/wBP/wCg74m/8G0v+NH/AAr/AE//AKD3if8A8G0v+NT7CP8AN+AuWXYs80c1W/4V/p//AEHvE/8A4Npf8aP+Ff6f/wBB7xP/AODaX/Gj2Ef5vwDll2LPNHNVv+Ff6f8A9B7xP/4Npf8AGj/hX+n/APQe8T/+DaX/ABo9hH+b8A5ZdizzRzVb/hX+n/8AQe8T/wDg2l/xo/4V/p//AEHvE/8A4Npf8aPYR/m/AOWXYsOyohd2CqBkknAArBgU+NL+K0swW0CCUSXl2OEumU5EMf8AeXIBZunGOcmtq28AeHkkEl4t/qhHRb+9knT/AL5Y7T+IrqYY44YlihjSONRhVUYCj0A7VcIRg7p3Y1Tb3HUUUUzYKKKKACiiigAooooAKKKKACiiigArlrr4c+A7q5lubjwfoks0zmSR2s0JdicknjqTXU0UAcl/wrP4e/8AQl6F/wCASf4Uf8Kz+Hv/AEJehf8AgEn+FdbRQByX/Cs/h7/0Jehf+ASf4Uf8Kz+Hv/Ql6F/4BJ/hXW0UAcl/wrP4e/8AQl6F/wCASf4V0OjaXpui6dHp2k2NtY2cWfLgt4wiLk5OAOOSSa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B//Z">
            <a:extLst>
              <a:ext uri="{FF2B5EF4-FFF2-40B4-BE49-F238E27FC236}">
                <a16:creationId xmlns:a16="http://schemas.microsoft.com/office/drawing/2014/main" id="{E0A3E4E5-9F64-409E-8379-0E70B0AC031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" name="AutoShape 8" descr="data:image/jpg;base64,%20/9j/4AAQSkZJRgABAQEAYABgAAD/2wBDAAUDBAQEAwUEBAQFBQUGBwwIBwcHBw8LCwkMEQ8SEhEPERETFhwXExQaFRERGCEYGh0dHx8fExciJCIeJBweHx7/2wBDAQUFBQcGBw4ICA4eFBEUHh4eHh4eHh4eHh4eHh4eHh4eHh4eHh4eHh4eHh4eHh4eHh4eHh4eHh4eHh4eHh4eHh7/wAARCAFKA0Q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82+MXxUh+HuqaLZf2RLqQvH86/dJNosbMOkbTtxzhpFGPrzQB6TRWbruv6HoVil9rWr2OnWrkKkt1OsasT0AJPNV9U8XeFtLs7S81LxFpVpbXoBtZZrtEWYHuhJ+YfSgDaorJ13xN4c0FYG1rXdN00XB/c/arlI/M/3dx5rB8WfFDwd4X8U6N4e1jVra3n1aKSaKVpkWKJFXIZyWGA3RSAckGgDtKKRSGUMpBBGQR3paACiiigAooooAKKKKACiiigAorn/AIj+Iz4Q8B614nFp9rOmWj3Ag37fM2jpnnFZfgzxB4vvLc6l4u0PRNE0o2q3CXEOqGUjIBwwZFCjB65oA7SiueTxdoup+H9T1LwzrGkau1jC7ny75PKVwpIEjjOwcdT0HNY+meN7ufxfoWh3drYRxaj4ffVp54bnzUjZWjG1H6MmHJ3ewoA7mis4a9opsbG+GrWJtb90js5vPXZcO33VQ5wxPYDrULeJ/Da6tHpDa9pg1GSVoUtTdJ5rSKASoXOcgEHHvQBr0VkWHijw3f6zNo1jr+mXOpQ5821iukaVMdcqDnirup6lp2lxRy6lfW1nHJIIkeeUIGc5IUE9+Dx7UAWqK5z/AITzwT/Zf9qf8JdoX2HzvI+0fb4/L8z+5uzjPtWlrOvaJo2mDU9X1ewsLE4xcXFwscZz0wxODmgDRorOt9d0W40Q65b6vYS6WELm8S4UwhR1O/OMfjXL6F8Q7HXfiWPDei3Gnajph0X+0Rf2twJMuJvLKfLxjHPrQB3NFZGl+KPDeq6pPpema/pl7fW+fOt4LpHkTHXKg5rXoAKKKKACiiigAoorz7xp408T2PxDtPBvhbw7p+qXU2ltqUkt5fm3VEEvl7RhGyc0Aeg0Vzcni3TdF02xPjTVNF0HUrhAXt5L9dobPRWbaWHvgVJqWvXNv4r0rS7dNNls720nuGke9Cz/ACBSvlxYzIp3csDxx60AdBRXHfDLxvB4o8G6Dq+pNZ6ff6wsxgtBNy5jdgwQHlsBcn0rem8QaFCt60usWEa2EqxXha4UC3dsbVfn5SdwwD6igDTorDPjDwmNJn1c+JNI/s+CYwS3X2xPKSQdULZxu9utaelajYarYRX+mXtve2kozHNBIHRh7EcGgCzRXnWreP8AXb3xdqXhvwJ4Xh12XR9q6pd3V8LWCGVl3CFTtYu+0gnjAyMmuh/4TDTdM0Gxv/GNxY+F7q5X57W+vYwUfPKhs4b6j1oA6SiqQ1bSy9ig1G0LagCbMCZT9owu47OfmwvPHamSa5o0a6g0mrWSLppAvi06gWxKhh5nPy8EHnsaANCisiw8T+G7/RZdbs9e0240yIkSXcdyhhQjrls4FT6Drmja/ZG90PVbLUrYMVMtrOsihvQlT1oA0KKKKACiiigAooooAKKKhv5/stjcXW3d5MTSbc9cDOKAJqK88+BPxLHxL8Ly6lc6V/Y9/A0ZlszN5mIpY1kikBwMhkb06gjtVT4b/FmDxp8QPE3h6HSvsunaPGJbfUXmBW7QSPG7hcfKoeN8HPOKAPTqKxtF8U+HNdluYdD17S9Tnth+9jtrpJCn+9tJwPes/QPGNjJ4X0/VfEmoaHpc94krqsepJLCwQnJSQ4DYABOOlAHU0VxnjH4neDvDPgSTxnNq9rfaUHEcT2c8cnnuWxtQ7gCRySM9Aa1v+Ey8Jjw/H4gbxHpSaVI21LxrtBEzdMBs4Jz2oA3aKzT4g0IabbakdZ08WV0wW3uPtCeXKSCQFbOCcA/kabo3iTw/rVhNqGka3p1/aQErNPb3KOkZHUMQcD8aANSisfQ/FPhrXRc/2Lr+maj9l/1/2a6STyv97B4pmneL/Cmo6lDpun+JNIur2aITRW8N5G8joRncFByRigDborJvfE/hyx1qHRLzXtMt9Tnx5VpLdIsz56YQnJpL7xR4bsdZh0W91/TLbUpseXaS3SLK+emFJzzQBr0VmeKJ9cttIeXw7p9nqGoBl2QXVyYIyM8kuFbHHtXnngH4ieMtfvdSm1bwzoOkaPpGpTafqV42sEmJ4lBZlBjAK/MvJI70AerUVlaH4l8Pa5ZzXmja5p2oW0BImltrlJFjOM/MQeOPWuX8c/ErSNM+Hes+KfC9/pevPpjQo8cN0HQM8qJhihOOGJ/CgDvaKpQarps2pyaVHfWzajFCs8tqsoMsaNwGK9QCehq7QAUUUUAFFFFABRRRQAUVwXxf8W+LPBmiXviDSPDmm6rpOn2T3V28+oNBKNmSVVQjA8D1FO8O+N7230VdW+ISeHvC9tcpG9k39rB/NDLk53qmCMjpnrQB3dFZV/4k8P6fosetX2uadbaZKAY7uS5RYnB6YYnBz7Vi3njOP/hNfC2j6b9kvdP122u7gXkcu4AQqhXaRwQdx/KgDr6Kp6Rqmm6vaG70q/tr63DtH5tvKHTcpwwyOMg8GvPPAvjvxx4uvZ7qw8JaTHoUGqz2ElzJqrCfbDIUZxH5eM8ZA3UAen0Vj2/inw1casukwa/pcuoO0irapdIZS0f+sG3Ocrg59MUuj+KPDes309hpOvaZf3dv/robe6SR4+3IByKANeisOXxj4Tj1K402TxNo6XtsVE9ubyMSRliAAy5yMkgfUitBNU02S4vbdL+2aaxCm7jEoLQAruG8fw5HPPagC5RWRfeJ/DljokOt3mvabb6ZOqtDdyXKLFIG5BVicHPtUj+INBTTrbUm1nT1srpgtvcG5QRysQSArZwTgH8jQBp0Vm6F4g0PXrKS90TWLDUraNikktrcLIiMOoJU8GqVp428H3cM81r4p0WeO3lSGZo72NhHI7bVViDwSxwPU0Ab9FVZtS0+HU4NMlvbdL64RpIbdpAJJFXG5lXqQMjJ96tUAFFFFABRRRQAUUUUAFFFFABRRRQAV4FNovi74heKviDqlha6E2jXkTeGbf8AtUTK/kxKfNeMKPutK7HPcoPSvfaAABwAKAPmNtUju/Afg7VfEuvyaD4y8MC803fe6W95aXMsWIpEkUL1dVQqwIY5OM1a8Y62E0/w347nSHw94vPh3YPD15o8lzaXsbPv+zphcxyFlGMHcAwyMV9I7F/ur1z070FVJGQDjpx0oA+ZvF51KL4rajrHirWovCNpq+hWK2IvNDXUIlHlnz7YORiNhISSv8WQe1XbnT9E8FyfCDVLy8uNT8O6dBfWkmpz6c+797HmEPHtLIMgqoI44r6MZVYYZQR7ilIDDBAI96AERlZFZfukZHHaloooAKKKKACiiigAooooAKKKKAOC/aHjkm+B/jGKKN5HbSpgqopLE47AVzWuaRc+C/g5fa3ZTa14mnOm24NhrE73tvGCU3P5OMnYCWwOSFxXsRAIwRkUUAfLnhiWXUPF3j+6t9ZGv283gV41vbbRTYQyOGk+RVAxIRnGeTzjtXV+E7C6uPEHge3WCRWf4cyQZZCArnyAAfQ+1e7hVAwFAGMdKAo44HHA4oA+WtI8QWV74F+E/g2C11M61ofiCxj1SBrCVRZmMuh8xiu0ZJGME5HNeheDPDaz6n8W9SsdNiTxBc6tPDZXkkeJARaR+VtYjgBmPI7k17HtXJ+UcnPSlAAzgAZ60AfLHwk0mwvJPAml6l42a11jRLmOU6MnhnyLqK4VGWRJJgMlTlsuThuDXrH7Q+l2+s6b4P0+8she2kviywFxCyFlZPnzuH931zxXp21dxbaMnqcc0EA4yM80AeIWHg/QJfjv8QWl8N2TQHw9ZrGGtB5eXWUPtGNuSFUHHPArkPCVxb6Tpnwi8ReOrO4m8O2nh65tRLNaPNHZ3paMRPIoBK/uldQxHH419P4Gc4GaQqpXaVG30xxQB8uapp32rwv4p8Rafot4fAV34x0/UDYpaOn2iyjCi6lWDAby2kAbGPmCk45rXBsPEnxN8Xaj8NtPkt/t/gWe2tL6Kza2iubsOQpQsBkrlRux274r6N7Y7UgVVxhQPoKAPmT4RabpOoax4Ghk8bFNS0Mhk0eLwz9kuIXERWSKaQDheuSeGIB5r6cpAqhiwUAnqcUtABRRRQAUUUUAFePeM/Dr+IP2jdPjbUdb0yKPwrIftGm3LQMW+1D5S4HI74r2GjAznAz60AfPfxf1CbS/Edz4Xn1CPS7aLQUFvqV5oh1S81hmMgaAORjK4GR1JfPSovhpb3n9qfBhpoLgNF4NvUkLo2UbZAAGz0PHQ19EEAkEgEjp7UBV4+UcdOOlAHzL4YlXw34S+DfizWIbqDStLn1GC+mFu7m2MwkWNnVQSFJGM47iqOrvH4l8G/GW9t7C+ax1PX9OaFZrV4nmixApYKQGwQDz6V9UbV27dox6Y4oKqc/KOevFAHgvx20RtE8XeB76wmg8O+GLBLqKW5j0hby3tbhkQRM8OMDKqyiQj5fbNdd+z5penWGi63eaX4mfX4dR1R7l5V042cKSFFDCKPGNpwCSOCc+9emkAjBAI9KAABgAAUAeH+FPEWnfC7x7450zxp9qsLfWdYbV9Mv/ALLJLDcxyRopTcinDqykbTz0xVb4l+NUv/E+iPF5Ph3Sr/SJJ4dY1Dw493cTt5m37IsbD5CR8+Dy2RgV7wyqw+ZQfqKCAcZAODkZoA+Z/CFwfDXw9+DHibW4b2HTdIur6K+l+yOWthLHNHGzoASi5wOnGRUkT6B4os/ivf6tPq+kaPf69p81tff2dIWQpBCY5miKktFuQE7hgg84r6UKqV2lQR6Yo2jngc9eOtAHy74p1HxN4q+GlrdNHB/ZejeLoDc6tp+jMYb60RM/ajaN99VdgGHIO3I4FeifAmx0ybxV4i8Raf42XxHLeW9tDcrb6P8AYbdShfY3A2u+CQSOQMZ7V6+AAMAAD0pFVVGFUAegFAC0UUUAFFFFABRRRQAVT10E6HfgAkm2kwB/umrlFAHylbL4m8F+BPAGv+FtMupr7xT4UtfDlwiIf9Hu/LBtrhx22hpAc+1dTZ6PL4H8Z+L7HR9BOsR6V8P7OG3tGiJS9kR59yHj5ixySOp3e9fQe1cAYGB0pcDOcDPrQB80/C7UJNW+M/hy+i1qDVV/4R+9WcWWgGwgs2PkkQbsfOQQflPK496b4N0ODUtK+BtpqulfabeG41OWSKeElUYK5QsCMdcEZ719LhVHRQPwoCrx8o46cdKAPm3x5oL/APCEfGvTtM0ljCmqW13BbQ25Iz5MDytGoHU4Ynb71J8TNRtNV8V+BvF+ka0uleE47G7gTUm0Q3VvbXRKffiYDYWUMocjsRnmvo/A54HPWk2rt27Rt9McUAfOD+F9Hn8BeHbKHUz4p0vU/H0N3Of7NNrAAwO9EixgR7hnj5SWNa/iGKTwz49+KV5ofhaHUE/4RmxnXThbfuLqQGZTlFGGwoGQOSBiveNq4AwMDpx0pcDOcDPrQB80fDi8k1L4vi8g1yLW4T4Ru45JrPQjYW8T+ZERCDj94Rz15X8TU/hbwzp2n/Bz4RX1nokdtqKa/YTSzJb7ZgZGcSFmxuwQcHPGMV9HhVHRQPwo2rgDaMDpxQB4H4Vv/CGi+KvGOh+PNFkuvEWo+JXuLYSaW9w15AxT7M0TBSNqAeo24J4ri9V0eObU/HHhrxh4z/4R+41TXbmYQSeG/tM9zAzg28kNwAWbCBAMfcK4r6w2rkNtGR0OKCqkhioJHQ46UAQ6fGYbC3haV5ikSqZHGGfA6n3NeBRX+o6D8NPiZf2+gxalJ/wmdwfKu7Rp4kjZoAZzGBmRUGXwOu2voSkwADwOaAPmPwnHpus+IPiH/a2vXesaHe+F4IbnUtO0NrION8obykUHzCoP3gD6dqi1nVtQ1b4MeOtBtZLTW7Cwh09LLXbHSmtTdEzpmNo8YZ4woJK/L83QHNfUIVV+6oH0FG1du3aNvpjigDyX4Ewv4f17xH4V8Q2jt4rNwb6fV3Qn+2bdziOYN0XaPkMY4XHAwa9bpMDO7Az60tABRRRQAUUUUAFFFFAHCftCRyTfA7xpFDG8kjaNchURSSTsPAA61w3xG1y40uTwVp8z2Oh2c2jF21260Y37RyKsYFqi4wrODnnrtwK90IBGCMikKqQAVBA9qAPlzw5a6bH8FvCF9q3iCfw/qGm61qU+mXV3ozSW5YzSqUmgxiMMjfKOCP4at+NYPGXj7R/AUmm2f9gazd6TquYIYmhikUbP3eThoVmUcHhlD19MFVIwVBHpilwM5wM0Acl8INU0XVfh/pr6FpLaLbWyG1fTWiMbWcsfyvER3IPfv17159+z34SaTT9R1ubWfElo6eJdRcWKXrR2rgXD4zFjBB/WvbgAM4AGaAAOgAoA+fvDvhW4ufhb8V59C0oJ4lv9a1lLecR7Z3O5lUIx5GVJAxxz71mfCTTtL1TxL4Okh8dh9S0W2kEWkweGvsUkWYdjxTuBwAecN1IBFfSgAHQAUgVQSQoBPU460AfH93d+Frb4NaR4XvtDnXxvYeI7d9QZ9NcSwzG/XfO8xXG11IAO47twH09I1rxBY+D/AIlfE211q31FZvEFjayaSsFlJN9sK2zRMiFQQWDdQcYBzXr3jPwzpvizRf7J1Qzrb/aILgmFwrF4ZFkTnB43KM+1bZAJBwMjoaAPlV7TUtP0T4R6tqGqNoOkWvhc2xvZ9I+3RWt2yx4Dxn/VlkDAOfQjvWyfCujS+BfCthBqR8U6VqPj+K7nZtNNtBhw5dVixgRbhn+6cmvpAqpXaVBHpjijauAMDA6cdKAPnf4i+HtR/t/4u6b4R02WCa98Mae8cNmnliZw0ocLjA3mNdvHPSt60tvhx8S/Aep+GPCemrbXp0RYfPTTHtzaspBjjZ2QfOsiqdvJGCa9rwM5wM+tNeMNG6KSm4H5l4IJ7/WgDxP9njUNR8eeINQ+IWsW0kEllYQ+H7eOUcrNF814w+suBn0Svbqw/AvhfS/Bvhm30DSPPa2hZ3Mk775ZXdy7u7YGWLMSeK3KACiiigAooooAKKKKACjvRRQAUUUUAFFFFABRRRQAUUUUAFFFFABRRRQAUUUUAFFFFABRRRQAUUUUAFFFFABRRRQAUUUUAFFFFABRRRQAUUUUAFFFFABRRRQAUUUUAFFFFABRRWN4k8R2Oi+XAyyXd/PkW1lAN0sp9cfwr6scAU0gbNS7uLe0t3uLqeKCFBl5JGCqo9yelSRusiB0YMrDKsDkEetcRFot5rNwmoeLGiuCpDQaah3W1ufU5/1r/wC0eB2FJHY6p4YkM3h1TeaZnMmku+NnPJgY/d/3Dwe2KwWJoufJza/gVyTS5rHc0Vm+H9c07XbM3GnzFtjbJYnXbJC/dXU8qfrWlW7TW5NwooopAFFFFABRRRQAUUUUAFFFFABRRRQAUUUUAFFFNkdY42kkYKigszE4AA70AOrNvPEGhWUhjvNa063cdVluUUj8Ca42e5vvGTNcSXFxZ+HiSLe3iYxyXq/89JGHIQ9lGMjk+lXrHRdHsYhFZ6XZQIOgWFf54yaUpwg7PcydR9Dc/wCEs8Lf9DJo/wD4Gx/40f8ACWeFv+hk0f8A8DY/8azPsdn/AM+lv/36X/Cj7HZ/8+lv/wB+l/wqfbQ7MXPI0/8AhLPC3/QyaP8A+Bsf+NH/AAlnhb/oZNH/APA2P/Gsz7HZ/wDPpb/9+l/wo+x2f/Ppb/8Afpf8KPbQ7MOeRp/8JZ4W/wChk0f/AMDY/wDGj/hLPC3/AEMmj/8AgbH/AI1mfY7P/n0t/wDv0v8AhR9js/8An0t/+/S/4Ue2h2Yc8jT/AOEs8Lf9DJo//gbH/jR/wlnhb/oZNH/8DY/8azPsdn/z6W//AH6X/Cj7HZ/8+lv/AN+l/wAKPbQ7MOeR0Gn6vpWoNtsNTsrs4ziGdXP6GrtcJqHh7RL/AAbjTLcSKcpLGvlyIfVXXBB/GpdB1bUNE1W30fWrp76xu28uxv5MeYknUQynuSM7W74weetxlGfw7jVTXU7aiiig1CiiigAooooAKKKKACiiigAooooAKKKKACiiigAooooAKKKKACiiigAooooAKKKKACiiigAooooAKKKKACiiigAooooAKKKKACiiigAooooAKKKKACiiigAooooAKKKKACiiigAooooAKKKKACiiigAooooAKKKKACiiigAooooAKKKKACiiigAoJwM1R1vVtP0Wwe+1K5S3hXgE8lmPRVA5Zj2A5rlJ49X8V5OprNpWiH7tirbbi6X1mYfcX/YHPqe1TOcaceabsgSbdkWtS8TXeqXEmm+E1jlKMUuNTkGbeA9wn/PV/YcDue1S6FolppRlmVpbm+uMG5vJzummI9T2HoowB6VoWtvBa28dtbQxwwxqFSNFCqo9ABUleTiMXKr7q0j/AFudVOio6vcKKKK5DYxtZ0Jbq7XVNOuX03V41CpdxDO9Qc7JF6OvseR2IqxofihmvU0fxDbppuqNkRENmC6A7xOe/wDsH5h79a0aq6rp9lqlk9lqFulxA/VWHQ9iD1BHqORXdh8a4LlnqvxX9djCpRvrHc6CiuJg1DV/Cnyag1xrGhjpcgb7q0Ho4HMiD+8PmHcHrXX2N5a31nFeWVxFcW8q7o5I2DKw9iK9SLUlzRd0c2qdmT0UUUwCiiigAooooAKKKKACiiigAooooAK5b4nsz+GBp6O0f9o3UNmzKcEI7jfj/gIYfjXU1ynxL/49NE/7DNv/ACaqi7O5E/hY9I0jjWONQiKAqqOgA6ClFLRXAZBRRRQAUUUUAFFFFABRRRQAVl+LLNb7w5fwY+cQtJE3dZE+ZGHuGANalQah/wAeFz/1xf8A9BNXTbU00J7G74av/wC1PD2nan3urWOY49WUE1oVznwv/wCSc+Hf+wdB/wCgCujrrluzoWwUUUUhhRRRQAUUUUAFFFFABRRRQAUUVHdXFvaW0lzdTRwQRKXkkkYKqKOpJPAFAElcZ4x8dR6dqDeH/Dtn/bniMpu+yo+2K1U9HuJOka+3LHsO9Yl94o1vxwzWvhCWXSfD5ysuutHia5GeVtUYcA/89WGP7oPWtbw5oWl+HtP+w6TaiGIsZJGLFpJnPV3c8ux7kmgDKsfGPiPwpJt+IAtr3S5SCNa0+ApHasx+5PFyVQZwJBkY+9jrXpNtNDcwR3FvNHNDIoZJI2DKwPQgjgiucZVZSrKGUjBBGQR6GuRi0nWvBc733ghFutMZi9z4fmk2x8nJa2c/6puvyH5D/s9aAPVaKw/B3irR/FVi9xpkzrNC3l3VpOhjuLaTukiHlT+h6gkVuUAFFFFABRRRQAUUUUAFFFFABRRRQAUUUUAFFFFABRRRQAUUUUAFFFFABRRRQAUUUUAFFFFABRRRQAUUUUAFFFFABRRRQAUUUUAFFFFABRRRQAUUUUAFFFFABRRRQAUUUy4mit4XmnkSKJAWd3bCqPUk0APrnfEXidLK6/srSrY6nrDLkW6NhIR/elfoi/qewrMuda1TxOTB4deTT9KyRJqjJiSYdxAp7f8ATQ8egPWtLRdKsNHtDbWMHlqzF5GJLPIx6s7HlifU1z18TCjpu/63/wAi4U3P0KGmaHJ/aA1jXboanqoz5blcQ2wPVYk/h/3jlj69q3KKK8epVlUlzSZ1xgoqyCiiioKCiiigAooooAK5+40a80q8k1TwtJHBLIS9xp8hxbXR9f8Apm/+0OPUGugorWjXnRd4sicFNakfhvxHZ60ZLfy5LPUYP+Piyn4ljPr/ALS+jDINbVctrui2mrCKSRpLe8gyba7gbbNCfVT6eoOQe4qGw8SXmkTx6d4s8tA7BLfVI12wTHsJB/yyf6/Kex7V7NCvCv8ADo+3+RyTg4b7HX0UAggEcg0VqSFFFFABRRRQAUUUUAFFFFABXKfEv/j00T/sM2/8mrq65T4l/wDHpon/AGGbf+TU0RU+FktFFFcJkFIzKqszsqqoyWY4AHqTS14h+1LLcalqXgLwNJqE1ho/iPWPJ1OSJ9hkjXbiMt2BJ/lTSuxpXPX5Nc0WPT59Rk1jT1srf/XXH2lPLj/3mzgfjV2GSOaFJoZFkjdQyOpyGB6EHuK8F+OPwy8F+B/gl401Dwto/wDZclxpsdvMkcrlHUTIQSpJ+b3rG8X/ABi8QaFfaN4M8M3Wj6U1l4ftbq6vdSs57kSu0SlYkSJWI4x8x4qlG+w7XPpaivANR+Lviq++GPhjxHa6l4Z8KX2omdLyPVreeV3eNto8iFFLsDySccZFZifHLxlc/A+z8WWdppL64vidNFmHlMLe4U5+ZVPKZ469PSjkYcrPpKisTwTH4oj8Owr4yuNMuNY3MZn09GSHaT8oAbnIGAT3rbqCQqvqP/IPuf8Ari//AKCasVX1H/kH3P8A1xf/ANBNVD4kJ7Fv4Yf8k58O/wDYOg/9AFdHXOfDD/knPh3/ALB0H/oAro67Z/EzojsgoooqRhRRRQAUUUUAFFFFABRRXD+L/Gl5HrE3hbwjYrf65GiNdTT5W009XGVaVurMRyI15Pcgc0AbXjLxZo/hW0il1KSSS4uG8u0srdPMuLp/7saDk+54A7kVxD6PrPjG6j1HxyqQ2CMHtfD0Um+FCDlXuGH+uf8A2fuD0J5q/wCGvDEGl3kur393Nq+vXC7bjUrkDeVznZGo4jjHZF/HJ5roKAEACgKoAAGAAMACloooAKKKKAOe8SeGItSvY9Z0y8l0bX4F2walbqCxXOfLlU8Sxn+634EHmrvhfx1KNTh8OeMrWLSNakJW2lRibTUMd4XPRvWNvmHbcOa1Kpa5pOm65pkumatZxXlpKPnjkGRnsR3BHYjkUAdnRXllvrevfD2Nv7Ylu9f8KRgn7aRvvdOT/pqOs0Y/vj5wOoPWvTrS4gu7SG6tpVlgmRZI3U5DKRkEfUUAS0UUUAFFFFABRRRQAUUUUAFFFFABRRRQAUUUUAFFFFABRRRQAUUUUAFFFFABRRRQAUUUUAFFFFABRRRQAUUUUAFFFFABRRRQAUUUUAFFFFABRRWR4l8T+HfDVq114g1zTtLhA3Frq4WPj2yeaANeivnnxx+138LdCEsWjNf+IrlMhRaw+XET/vvjj3ANeNav+1L8Y/HUzad8PfCa2JclQ1naveTjP+0RtB/4DQB9peLfE2keGLBbrVbkRmQ7YYgR5kzeij+Z6Dua43w/eWnxBabUL3VtP1CytJ/L/suxuVmghkGCPOdeJHxg4+6PfrXyvB+z7+0F8ULyHUPH2uNZR4JVtTvDI8YPULEmQv04r3H4G/DZfgONT03VNWub6w1WaNo9Q8sLbRuoIw45MbHOMklTgcis6/P7N+z3/H5Dhy83vbHtYAAAUAAcADtS0gIZQykEEZBHQilrwDvCsP4g6ldaP4D1/VrF1S7stNuLiBmUMFdIyykg8HkdK3KwfiJp93q3gDxDpdhF5t3d6ZcQQR5A3O0bBRk8Dk1ULcyuJ7GB8JvGE2qfBHRfGviu+gjkk037Xf3JURooGdzYHA4HaqvgT41+A/GWurouk3WoRXksD3FsLyyeBbqNRlmjLD5hjmvMPDPhv4pa18DZvg/rXgM6DCujtbw6w+qRSK8yMHRWjXJAYjaTk4Gah+FPw98cQeKtDutf8G6tZXehWM0Vnqd94nF3bxS+UVXy4AMhC2OM4Aro9lD3m3+KM+aWh6X4e+PHw/1zxJZ6DbSavb3F/IYrKW702SGK5cfwozDkntV5PjJ4Jf4ey+OBcXv9mRX39nvH9mP2gXG8J5fl9c5IP0rwvRPh/wDGrUvGHg6+8WaPqtw+j67HdX17c69HNA6Bj88NuMCMAemSfSuhm+EfjBvjlLYLYJ/wrqfxEniWWYSrzOsZPlbM5/1h9MVTpUr7/iJTkekeK/jr8PPDPiCfRNSvb9p7Uot7Lb2MksNmzYwsrqMKeeR2qz4u+M3gbw14gh0O6ub+9u5IIrhv7PsnuEhik+47svABBB+hrxPxX8KPH1j4v8Z29v4X1bxJoniO/ku0ax8TLYQlX6pPEQd2On0FanxJ+H/xCHiTTG+H/gyfSNRs7GztIPENrryohjRFDRXELD96FIIBxyAOvSj2VLTX8UHNI+nAQQCOhGRS1HaiZbaJbhleYIokZRgFscke2c1JXGbBUdzBDc28lvcQxzQyKVeN1DKwPYg9akqO5nhtreS4uZo4YY13PI7BVUepJ6U1e+gnbqYEEWr+FTu0lZtU0UH5tPZt09svrCx+8v8AsH8D2rlfG37Snwu8Iawmlarf6g9w0KzHyLNnCg5+VuhVgQcqRkV1UEur+Kzt0tp9K0U/ev2XbPcj0hU/dU/3z+A71j+J/wBn/wCE/iS/W/1jwstxdCMRmUXUqswGeWwwy2Sck8mvoKXtOT978X9b+f8ATOCXLze5t/WxyQ/a7+DR63+sD66c3+NPX9rj4MH/AJimqj66dJWi/wCy18E2/wCZUkX6X83/AMVUT/sqfBVv+Zcul+l/L/8AFVQFdf2tPguf+YzqQ+unSf4U9f2sPgqf+Y9fD66dL/hSN+yd8F2/5gd+v01CT/Gom/ZI+DDf8wrVB9NRegC0v7VnwUP/ADMl0Prp03/xNPX9qj4Jt/zNE4+unz//ABNZrfsh/Bo9LHWV+mot/hSL+yD8Gwcm01th6HUT/hQBsL+1F8E2/wCZtYfWxm/+JqVf2nPgo3/M4oPrZzf/ABFYEn7IHwdZSFt9cjPquoHj8xULfsd/CMnKtr49vtw/+JoA6pf2lvgo3/M7W4+ttN/8RVLVPjN8NPGmp6BofhnxVbahqMmrQukCxSKSqhiT8ygcCubl/Y2+FLfduvEMf0u1P80qKz/Zu8DfDfxT4e8VaFfazLew6pHGqXMyNHh1YHgKD+tNEz+Fnt1FFFcJiFcn8UPAOg/ETw8uj66s8fkyie1urd9k1tKOjo1dZXLfEL4geE/AVnBc+JtUW1Nw223gRGkmmPfai8n69KavfQaOOPwShuvDmtaTrfjzxTrcmq2a2X2i9nD/AGeIOr/InTJKjJPNWfFHwa0/VNT0/WNH8T674b1e00+PT5LzTpFBuoYwAokUjBIx1rofh18SvCfj6W8g8O3dy9zZBWuLe5tXglRWztO1hyDg9K7HB9DT5pId2eVa/wDBez1W08POvjPxNa6xoSSxw6us6vcypKcuHJGPpjoKgtvgToNv4HXwmmuarJbL4gXXfPl2vKZV/gJ7g9z1r0/XNV03QtLn1TWb6DT7G3AM1xcPsSME4GT25IFWbeSO4hjmhYSRyoHjZeQykZBHsRRzMLsfRQetFSSFQX+PsNxnp5L/APoJqeoNQ/5B9z/1xf8A9BNVH4kJ7Hx9pvhT9rSbT4Ljw/q2qrpEiBrFU1SFQsJ+4AC2Rxjipz4X/bNTpqmtH/uJwH+tfYfwu/5Jx4d/7BsH/oArpK7Z/Ezojsj4W/sL9tBP+Yhrp/7frc/1pP7M/bRT/l515v8At6tj/WvuqipGfCht/wBtJP49fP8A21tj/Wkz+2kn8HiA/jan+tfdlFAHwn9q/bSX/lj4gP8A2ztTS/2p+2gn/Lp4gP8A262x/pX3XRQB8KHxB+2dH10/xAf+4fAf6U3/AISz9sqPrpmvH/uEwn/2Wvu2igD4RPjr9sWPrpOun/uCRH/2SvSf2etV+J8nimXVfijDdWtzr2+yijubNbYmS2QSIwUAA5R5Bn/YxX1LXD/G2xaXwQ+tQRs13oFxHq0G37xEJzIo+sZkH40AaVFRWtxDd2sN3bOJIJ41kjYdGVhkH8jUtABRRWN401PVtI8O3F7oehya5qIKpBZJKI97McZZjwqjqT6CgDZory34U/EvX/EfjvXPBPizwxbaNq+lW6XBazvPtELIxGAT2bkfrXqVABRRRQByXxSzeaDbeGYZmiuPEN7FpqlfvCNjumI+kSvXqEEUcEEcEKBI41CIo6AAYArzjRUj1z4xuzR74fDOncMeguro9vcRJ/5Er0qgAooooAKKKKACiiigAooooAKKKKACiiigAooooAKKKKACiiigAooooAKKKKACiiigAooooAKKKKACiiigAooooAKKKKACiivIPH37SPwl8Hzy2lz4h/tO9jJV7bTYzMysDggtwoP1NAHr9Br4r8WftneINUuXsPh/4JVHfiKW8LTyk+ojTj9TXOp4b/at+L8bPqV3qmmaZMeVuphYQEHsI1wzD8DQB9feOfi38OfBcLt4g8W6bbyr/wAu8colmJ9NiZNeD+O/21fDNmGg8G+Gb7VZe0964t4vwUZY/pVDwP8AsT6fGEuPGvi6e6lzue306PYp9vMfJP5CvevA3wP+Fvg3ypNG8H6ebmMcXV0n2ibPrufOD9MUAfKEnxN/ag+LVwYvC2mX+l2L8A6da/Z4gPeaTk/gfwrV8M/se+OvEd62pfETxlFbSSHdII3a8uGPu7EKPzNfbyqqqFVQoHQAcCloA8P8Cfss/CTwyiPdaPLr90OTNqUu8Z9kXCj8jXsmkaVpmj2SWWk6faWFsgwsNtCsaD8FGKuUUAFMnijnheGaNJI3Uq6OMhgeoI70+igDirjQ9T8MsZ/Dqvf6V1fSmb54R3MDH/0WePQjpWjourWOsWn2qwm3qDtkRlKvE3dXU8qR6GukrnvEPhmO+u/7V0u4OmawoAFzGuVmA6JKnR1/UdjXPXwsK2uz/rf/ADLhUcPQt0Vh6Zrki366Pr1qNN1Uj5F3ZhufeJ/4v904YenetyvHqU5U5cslqdcZqSugoooqCgooooAKKKKACiiufn1i91a8k0zwrHHPJG2251CUZtrY9wP+ej/7I4HcitaNGdaVooidRQV2Tat4n0iwun09Lhb3VFZVGn2rCS4LMMjKA/KMc5bAA70un+GrzVriPUfFhjk2EPBpcbbreAg5DOf+Wr+5+Udh3r5M+N3wb+LHw18bXfxU8DeItS1tnkae7uYxi7iz94PGOJI+OwwB1HGa9N/Z8/ao0Hxibfw/458jQtfYiNLgnba3LfU/6tj6Hj0PavYoUI0Vdb9/8jknNzeux9KjgUUisGUMpBBGQR3pa2JCiiigAooooAKKKKACiiigArk/iX/x66J/2Gbf+TV1lcn8S/8Aj10T/sM2/wDJqaIn8LJqKKK4TIDXz54svLLRv2thqHimW1torjw55Xhy6v8A/j1iuR94EngHOc9+fcV9B1keKfDPh7xTp4sPEejWWq2ytuWO5iDhT6jPQ/Sqi7DTPnuX4ieMdW0H4s6Trd14abUNB0JZINU8Oh03F8nAkLZOPwwc1W1NE0P4ReFLzWvG3jrUNY8ZNbTBLfVUtgX8rPliVxthjwwyeSSBXvekfDrwLpGjX+j6X4V0u0sNRj8q9hihwJ0/uuepH41a1jwX4T1jw5a+HNU8P2F5pFoqLbWksW5IQowu3uMDiq5kVzI+RrybVdd+A/xP03U9d1m4tvDmp28likuqrdthjtaOSZRiVOc8YGQD2rovHN9e6Lo3w58F+HPFWtXuharby3V3cpr0cE8swVT5AumBVFXPC/hX0lpHgPwZpGmahpmmeGdMtLHUUCXlvHABHOoGAGXoeKrv8NvAMnhiPwzJ4S0p9HilM0do0AKJIerDuCfXNHOg5kcl+zLJ4oHhnWLLxHqa6jFa6iU0931OO+mjhKg+XLLHwWHvjrXrNZHhXwz4f8K6adN8N6PZ6VZlzI0VtHtVmIxuPqeOta9Q3dksKg1D/jwuf+uL/wDoJqeoNQ/48Ln/AK4v/wCgmnH4kS9iz8Lv+SceHf8AsGwf+gCukrm/hd/yTjw7/wBg2D/0AV0lds/iZ0R2QUUUVIwooooAKKKKACiiigApk8Uc8EkEyB45FKOp6EEYIp9FAHlvwtaa10G58OXQIuPD97Lppz/FEp3Qt+MTJXWVzusRSaN8YhIGAs/Eem9PS6tj/NonH/fuuioAK5T4tXul2XgLUf7b0fVtX0y4C211baZGzzmNzgsApBwO5BzXV0AkdOKAPmv9mbSprL4s+IbrwdouvaV4AnslyusQlZJLoEY2FvmIA3dSf5V9KUEk9STRQAU2WSOGJ5ZWCxopZ2PYAZJp1cp8U3mm8Lf2FaTGK7125i0uFh1USnEjD6Rhz+FAGx8E7e4k8ISeILyPZda/eS6kykcrG5AhX8IlSu5qGytobOygs7dAkMEaxxqOyqMAfkKmoAKKKKACiiigAooooAKKKKACiiigArG8UeILfQI7RprS8u5LufyIYrZAzltrN3IGMKa2a474j/8AIT8Lf9hNv/SeWtKUVKVmRNtRuh//AAm5/wChV8Q/9+Y//i6P+E3P/Qq+If8AvzH/APF0UV0+yh2MueXcP+E3P/Qq+If+/Mf/AMXR/wAJuf8AoVfEP/fmP/4uiij2UOwc8u4f8Juf+hV8Q/8AfmP/AOLo/wCE3P8A0KviH/vzH/8AF0UUeyh2Dnl3D/hNz/0KviH/AL8x/wDxdH/Cbn/oVfEP/fmP/wCLooo9lDsHPLuR3Pj+G1ga4uvDevwQJy8jQR4Qepw/SuyHIrzfxz/yKOp/9cD/ADFejr90fSsa0IxSaLpybbTFooorA1CiiigAooooAKKKKACsDxb4iGkLFZWMIvdYuwRa2oOB7yOf4Yx3P4Dmjxb4iGkLFZ2UIvdXu8i1tQcfV3P8MY7n8BzWVoWkmxaa9vLg3uq3ZDXV0wwW9EUfwovQL+J5pTmqauy6dN1HZbFJNB1iVfNvPGmvfaH+aQW0kccQY9QilCQvpyad/wAI9qH/AEOnif8A8CIv/jdb9Fcn1ur3/I6/q1LsYH/CPah/0Onif/wIi/8AjdeQN+yh8O7rXL/VdU1HXb17u4efy/OSNULHJHC88k+le/UVLxNR7saw9NbI8/8ACnwq0bwhamLwlqV/pDgfK8ccByR03ny9zD2JrvfCPiKTUJZNJ1aFLTWrZcyxKfkmTtLET1U/mp4NPrM1/SI9Uiikjme0v7ZvMtLuMfPC/wDVT0KngitqWJbdqn39jKphla8Nzs6K5zwj4ik1CWTSdWiS01q2XMsSn5Jk7SxE9UP5qeDXR10tWOVMKKKKQBRRRQAUUUUAFFFFAFLW9J0/WrBrHUrVLiFiGAbgqw6MpHKkdiOa5OZtX8J/LqLT6toi/dvQu64th6SqPvqP74GR3Heu5oPPWpnCNSPLNXQJtO6MS1uILq3jubWaOeGRdySRsGVh6gipax9S8M3el3MmpeE2jhZ2L3GmSHFvcEnkr/zzf3HB7jvUmh63aaqZYVSW1voOLizuF2zRH3HcejDIPrXk4jCSpe8tV/W51U6ylo9zUooorkNgqrquo2Wl2T3moXCW8C/xN3PYAdST2A5NUNZ1xba8XS9Ntm1LV5BlLWI4EY/vyt0Rfc8nsDVnQ/C7LeprHiC4XUdUXmIAYgtPaJD3/wBo/MfbpXdh8E5+9PRfi/67mFSslpHczrfT9Y8VYk1FbjR9EOCtqDsubsf9NCP9Wh/uj5j3I6V2FhZ2thZxWdlbxW9vEoWOKNQqqB2AFT0V6kUox5YqyObd3e4V88ftB/sv+GfHouNc8KiHQPEbAu2xcW123+2o+6x/vD8Qa+h6KYHwT8O/jP8AE/4B+IU8E/ErS72/0aJgqRztulhjHG63l6On+yTj0xX2l8PPHXhfx/oEet+FdWhv7ZwN6g4khb+66HlT9ab8RvAfhb4g6BJovirSob63IPluRiSFsfeR+qmvi34hfBz4ofs++IX8a/DfVb2/0WM5eWFcyRJ12XEQ4dP9oDH0oA++KK+ev2fP2nvDPxAEGieJ/I8P+I2wqq74trpv+mbH7rH+6fwJr6FoAKKKKACiiigAooooAK5P4l/8euif9hm3/k1dZXLfFBHXwx/aCRtJ/Z11DeMqjJKI434/4CWP4VUVd2IqfCx9FNjdJI1kjYOjgMrDoQehp1cBkFFFFABRRRQAUUUUAFFFFABUGof8eFz/ANcX/wDQTU9ZXiy8Fj4cvp/4zC0cS93kf5UUe5YgVdNNySQnsa/wu/5Jx4d/7BsH/oArpKz/AA1Yf2V4e07TeP8ARbWOE49VUCtCuyTu2dC2CiiipGFFFFABRRRQAUUUUAFFFFAHB/G+18vwlB4kiDfaPDl5HqalRyY0ysy/QxM/5CtSKSOaJJoWDxuoZGHQqRkH8q6O9toL2zms7qJZYJ42jlRhwysMEH6g15X4ct/iB4f0O10JvBa6munobeK7TWIkE0aEiNtrLkHbtyD3oA7Oiuc/tDx7/wBE5P8A4PIP/iaP7Q8e/wDROT/4PIP/AImgDo6K5z+0PHv/AETk/wDg8g/+Jo/tDx7/ANE5P/g8g/8AiaAOjrmrGNNc+MdrEQXg8Nae1y/90XNzlEH1Eauf+B07+0PHv/ROT/4PIP8A4mtn4XaLqmm2Oqalr1rFa6tq+oSXU0McokEUYASKPeOGwiL07k0AdhRRRQAUUUUAFFFFABRRRQAUUUUAFFFFABXHfEf/AJCfhb/sJt/6Ty12Ncd8R/8AkJ+Fv+wm3/pPLWtD418/yM6vwj6KKK6zEKKKKACiiigAooooAxfHP/Io6n/1wP8AMV6Ov3R9K848c/8AIo6n/wBcD/MV6Ov3R9KxxHwr5/oXS+Ji0UUVym4UUUUAFFFFABWD4t8RLpCxWdnCL3V7vItbUHGfV3P8MY7n8BzW9XnvhFVn1XxHqE37y7Orz23mtywijICID2UZPHvSlJQi5MqEeeSiXtB0k2LTXt7cfbdVu8G6umGN3oij+FF7L+PWtSiivOnNzd2ejGKirIKKKKgoKKKKACiiigDM1/SE1OKKSOZ7S/tm8y0u4x88L/1U9Cp4IrQ8I+In1CSTSdWiS01q1UGaJT8ky9pYieqn81PBp9YHjSNEj0vUEGy7ttTtVhmXhlV5kR1z6MpII712Yaq21Tlt08jkxFJWc1ud/RRRXScoUUUUAFFFFABRRRQAUUUUAFY3iXw5Y60I5maW0v4Afs17bnbLCfQHuvqpyDWzRTTA4dNavNFuU0/xYsUG47YNSjG22n9mz/qn/wBknB7GkjvdU8UO0Ph5mstMyVl1Z05f1Fup+9/vngdga63W2sI9IupdUjikskiZpllUMpUDJyDwa474R+NR4qj1C3nWOGa3mLQxKMYgJ+UY9un5VgsNRUufl1/Arnm1a51fh/RNO0Oza20+ErvbfNK7FpJn7u7Hlj7mtKiit229yUrBRRRSAKKKKAChgGBVgCD1BoooA+Zv2gv2VNB8XfaNf8B+RoWunLva422ty3XoP9Wx9Rx7d68r+Fvx/wDiB8G9eHgb4saXqF7p1uwjDTjN1bJ0DIx4lj9Ofoe1fdtcf8U/ht4R+JWhNpPinS47jaD5Fynyz27H+JH6j6dD3FAGp4J8W+HfGmgw654Z1W31GxlAw8Tcof7rDqrD0NblfAPjH4b/ABa/Zr8SP4r8Falcaj4e3/vJ4kLIUz9y5i6f8CHHoRX0V+z/APtJeE/iVHDpOqNHoXiUgA2kr/urg+sTnr/unn60Ae6UUUUAFFFFABTZEWSNo5FDIwKspGQQe1OooA87mtb7waTbvb3F74eBzbzwqZJbJT/BIo5aMdmGSBwRxmrtprmi3abrfVrGQe065H4E8V29ZeoeHPD+oyGS/wBD026c9WmtUcn8SKUoQm7vcydN9DE/tDT/APoIWf8A3/X/ABo/tDT/APoIWf8A3/X/ABrQ/wCEK8H/APQq6J/4Ax/4Uf8ACFeD/wDoVdE/8AY/8Kn2MO7FySM/+0NP/wCghZ/9/wBf8aP7Q0//AKCFn/3/AF/xrQ/4Qrwf/wBCron/AIAx/wCFH/CFeD/+hV0T/wAAY/8ACj2MO7DkkZ/9oaf/ANBCz/7/AK/40f2hp/8A0ELP/v8Ar/jWh/whXg//AKFXRP8AwBj/AMKP+EK8H/8AQq6J/wCAMf8AhR7GHdhySM/+0NP/AOghZ/8Af9f8aP7Q0/8A6CFn/wB/1/xrQ/4Qrwf/ANCron/gDH/hR/whXg//AKFXRP8AwBj/AMKPYw7sOSRhX/iPQ7MES6nbvJ/DFC3myMfQKuSTUug6RqOt6rb61rVq9lY2reZY2EmPMaTHE0voR/CvbOTzXU6bo+k6YP8AiW6XZWfY+RAqfyFXquMYw+Hcap66hRRRQahRRRQAUUUUAFFFFABRRRQAUUUUAFFFFABRRRQAUUUUAFFFFABRRRQAUUUUAFFFFABRRRQAUUUUAFFFFABXHfEf/kJ+Fv8AsJt/6Ty12Ncd8R/+Qn4W/wCwm3/pPLWtD418/wAjOr8I+iiqmtLcvo18lkSLpraQQkf39p2/riusyOB8TfHD4c+H9buNHutWubu7tTi6FhZyXC257h2UYFd3oGr6dr+i2mtaRdLd2F3GJYJlBAdT355H418vfC7xVceGfgKR4T1Hwpp/ibTbi7l8R2uuAi4nZSSAoyCzHGBnjtW/pHjm6uPGHwZ1rVNQttE03VdKvHu4IZPs9mZMHGVzt64xnuayU+5Tie3fETxfpfgXwy/iDWkuGtFmihIgTc26Rtq8E9MmmaL400nVvHWseDbVLn+0tJt4bi4LJiMpIAV2nPJ5Ga+YfF+uz6/8Kfibctq0upWaeN7ZbKQzmRFi8wYCdgv04rqta0fUtd+LXxfsNGvrux1P/hHrGa0mtpSjiWNUZRkc4OMH60e0dw5T6Zor55+CfjXVvin8StI1VLy7j07w94djXUoldljm1CUlTuXo2ApPtX0NWkXdXJasYnjshfB+qMxAUW5JJOABkV20fiDQWUbdb008drpD/WuA+KFq198OvEFiriNrmwlhDEZCllxn9a+dU/Yj8QBcj4g6fnHaxkH/ALNWWI+FfP8AQql8TPs5dY0lvu6pYt9Lhf8AGpV1Cwb7t9bH6Sr/AI18VP8AsU+Ll/1PxA00/W3lH9ajb9jHx4v+r8e6Wf8AgMwrlNz7dW4t2+7PE30cVIGU9GH518Mt+xz8S1/1fjjSj/20nH9KY37IPxYX/V+NdKP/AG9Tj/2WgD7qyPUUV8J/8Mk/GNP9X400z8L+4H/stH/DKvxxj/1fjWx/DVLgf+y0AfdlefeCv9Z4i/7D13/MV8rD9mP9oCP/AFfja3/DWJx/Svev2ZtB1zwz8ObjQ/El4LzVbTV7pLmYTGXe24c7jyazrP8AdP5GtD+Ij1Ciig9D9K849A8p8L/HTw74k8RR6PpPhzxVOHvjYm8XTibaOQNtJZwcADv7V1fw08c6f48stVutNs7q2XTdTm06QT7cu8eMsME8HNeJfsnab4+ntr6+0nxXp1p4aj8TXX2vTZNPEk02GG7Ev8ORj6YrhE1a+074W6rbLqV3pWiah8R57XWr21Yq8NscZG4fdB9fauh04vRHOqkt2fahB9KMH0NfItjqP/CJ+LvHth8G9evtY0G28JNeEi7a7jtrzcACjHPzbcn8/SqHhiXw7puq/C3V/h/4y1PV/FusX8K69btqDzGSNgDN5sZOECncPwz71PsfMftfI+p/iR4rs/A3gnUfFeoWtxdWtggd4oMb2BYLxnjvWzpd2moaZa38assdzCkyq3UBlBAP518NeOZvD2seBfiJrfivxbqUfjyPWpbW30171kBt1kG2MQ9GTGTnttFfbHg7/kUNF/7B9v8A+i1pTgopFQm5NmrWB46Yrpdjjvq1iP8AyYSt+uf8ef8AILsP+wvY/wDpQlVhv4sRV/4cj0Ciiiu44AooooAKKKKACiiigAooooAKKKKAK+o2drqFnJaXtulxbyD543GQ31rlPhtouhWsVxf6d4eu9Kn894/9LH7wrx05+4e1dk5whJOMDrXNfDe4t7nQZJrbW7zWIzcuPPukKOpGPlwewoA6aiiigAooooAKKKKACiiigAooooAbNHHNE8M0aSRupV0cZDA9QQeor5Y+P/7J+m61JN4k+GbRaPqwPmPpu7ZbzN1zGf8Alm3t936V9U0UAfDvwh/aT8ZfDXWB4H+MWnahPb2zeWbmZD9stR23Z/1qe/XHQmvs7wr4i0TxTokGteHtTttSsJxmOaB9w+h9D6g8iuY+L/wn8G/FHRjY+JNPH2lFItr+EBbi3P8Ast3H+ycivjfXvCfxi/Zd8Strnh68k1Lw1LJ88yIWtpl7LPH/AANj+L8jQB+gdFeN/AT9oTwf8UreKxMi6N4iCjzNOuJB+8PcxN/GPbqPSvZKACiiigAooooAKKKKACiiigAooooAKKKKACiiigAooooAKKKKACiiigAooooAKKKKACiiigAooooAKKKKACiiigAooooAKKKKACiiigAooooAKKKKACiiigAooooAK474j/8AIT8Lf9hNv/SeWuxrjviP/wAhPwt/2E2/9J5a1ofGvn+RnV+EfRRRXWYnJeIfhr4A8Qam2qa14Q0i+vmOXnltxvY+5HX8at634G8H63o9no+reGtMu9Psv+PW3kgGyH/dHauiopcqHdnMD4feCRpV1pK+F9MSwu547i4tlh2xySJjYxA7jAxWna6DpFjrV9r1jptrDq17EsVxchcNKqD5FY+gwK1KKLILnnnwM+Hcnw+0XVUvrmzutU1bUZL67ktIykS7j8qIDzgDP516HRRQlZWBu5i+Of8AkUdT/wCuB/mK9HX7o+leceOf+RR1P/rgf5ivR1+6PpWWI+GPz/Qql8TFooorlNwooooAKKKKACvPvBP+s8Rf9h67/wDQhXoNee2gfw34jvtO1JQtvq1/Ld2N3/A7yYJhb+64xx/eHTnipqpyptI0otKomzoqKKK8w9Ep6PpOl6Pbvb6Tp9rYwvK0zpbxhFZ26sQO59arw+HfD8OnXenRaJp6WV5I0t1bi3Xy5nbqzLjBJ9TWpRTuxWRm6DoGh6Bava6Ho9hpkDnc8drAsasfU4HNQaR4U8MaPqMupaT4d0qxvZs+ZPb2qI7Z68gZrZoouwsjEv8Awh4Uv7+5v77w3pFzd3UZiuJ5bRGeVD1ViRkitmGOOGJIYUWONFCoqjAUDgAU6ii7CyCuf8ef8guw/wCwvY/+lCV0Fc7q5fxBrFtoGmr5hs7y3u7+4/5Z24jcOE93bA+XsDk1vhYt1U+xjiGlTfmehUUUV2nCFFFFABRRRQAUUUUAFFFFABRRRQBn+ItXs9D0mXUdQlMNumAX2FgpPAyBzjNc78MfE1vrVlLatqNne30TM8htLZ4o1Qn5fvDrV3x3q2lQadLo93BNqF1fRMkdhbKHmkU8bsdFA/vEgVjfBDT9L03wvJHaXHm3zTE3qOu2WJuioynlcD8+cU+V2uK6vY76iiikMKKKKACiiigAooooAKKKKACiiigAqK8tre8tZbW7gjuLeVSkkUihldT1BB4IqWigD5G+Pf7JyS3Enin4TSf2ffxt5zaV5hRCw5zA/wDA2einj0IrC+Cv7UWv+ENSHgv4yWV6fszeT/aEkRFzbn0mT+Mf7Q5+tfa1ecfGr4M+DPipphi1yzFvqaLi31O3UCeL0BP8a/7J/DFAHc6DrGl69pMGraLqFvqFjcLuingcOjD6ir1fnzdWHxn/AGV/EpurSQ6l4Ynl5Zdz2VyM9HXrFJjvx9SK+sfgZ8dfBfxVskhsLkadripmfS7lgJAccmM9JF9xz6gUAeq0Vm6/rul6FAs2pXSxGQkRRgFpJT6Ig5Y/QVhp4yvLgb7TwlrLxn7rTNDCSPXaz5/OqUXa5LnFbnXUVyL+LNaBGzwbfN9b23H/ALPTf+Et1z/oS7z/AMD7f/4qjkfdfehe0idhRXH/APCW65/0Jd5/4H2//wAVR/wluuf9CXef+B9v/wDFU+R9196D2kTsKK4//hLdc/6Eu8/8D7f/AOKo/wCEt1z/AKEu8/8AA+3/APiqOR9196D2kTsKK4//AIS3XP8AoS7z/wAD7f8A+KpU8Wa0T83gy9A9r23P/s9Lkfdfeg9pE6+iuRbxv9lYHVfDms2UR6zLGk6J7t5bEge+K6XTNQstTso73T7qK6t5B8skTblNDi0rjUk9izRRRUlBRRRQAUUUUAFFFFABRRRQAUUUUAFFFFABRRRQAUUUUAFFFFABRRRQAUUUUAFFFFABRRRQAUUUUAFFFFABXHfEf/kJ+Fv+wm3/AKTy12NcR8VLq1srvwxcXlxDbQrqjbpJXCqP9Hl6k8VtQ+Nf10M6vwlmisj/AISfw1/0MOk/+Bif40f8JP4a/wChh0n/AMDE/wAa7OV9jC6Neisj/hJ/DX/Qw6T/AOBif40f8JP4a/6GHSf/AAMT/GjlfYLo16KyP+En8Nf9DDpP/gYn+NH/AAk/hr/oYdJ/8DE/xo5X2C6Neisj/hJ/DX/Qw6T/AOBif40f8JP4a/6GHSf/AAMT/GjlfYLoZ45/5FHU/wDrgf5ivR1+6PpXkvjHxF4fuPC+oQwa5pksrxbURLpCzEkYAGeTXrS/dH0rDEpqMb+f6GlJ6sWiiiuQ3CiiigAooooAKp6zpllq+nTafqECz28owynt6EHqCOoI6VcooTsBwNpPe+H9Si0LXZmmilO3TtRfgTjtFIe0o9f4hz1zW9WprOmWWsabNp+oQLNbyjDKeCPQg9iDyCOlcba3F7oGpRaFrkzTRSnbp2ovwJx2ik9JR+TDkc5FYV6KkuaPzR00a1vdkb1FFFcJ2BRRRQAUUVh6heX2qam/h/w/IEuFA+3X2MpZIew7NKR0Xt1PvpSpSqOyIqVFBXYaheX2q6k/h/w/IEnXH26+xuSyU9h2MpHRe3U+/W6BpFjoemR6fp8WyJMsxY5aRj952PUsTyTRoGkWOh6ZHp+nxFIkyWZjl5GP3nY9WYnkmr9eilGC5Y7HnSk5vmkFFFFAgooooAKKKKACiiigAooqjrerafoti17qVwsEIOBnlnY9FUDlmPYDmhK4XLxOASTgVyGoeJbzV7iTTvCQjdUbZcarIu6CH1EY/wCWr/T5R3Paqs0WreLDv1RZtK0U4KaerbZ7kf8ATZh91f8AYH4ntW/awQ2ttHb20McMMahUjRQqqPQAdK5K+MjT92Gr/Bf5/kaQpOWr0RQ0LRbPSVkeNpbi7nwbm8nbdNOf9pvT0AwB2FRazocd5dJqVjcPp2rRgCO8hAywH8Ei9HT2P4EVsUV5ir1FPnT1Ol04uPLbQzdD8USLex6P4kt00/U34hkU/wCj3fvGx6H/AGD831611Fc/qmn2ep2T2V/bx3ED9Ucd+xHoR2I5FZEF9q/hMBLw3OsaEuAJwN91aD/bA/1qD+8PmHfPWvWoYqFbTaX5+n+RyzpuHmjt6KgsLy1v7OK8sriK4t5V3RyRsGVh7Gp66CAooooAKKKKACiiigAooooAKKKKACiiigCtqmn2Oq6fPp+pWcF5ZzoUmgmQOjqexB4NfJfxb/ZY0zRPEdv408Ea9PoOmW9wJry1V2823Gf+XZhzkn5Qp6EjntX17XKfEw7tM0uBuUm1a2Vx2IDFv5qKcbX1Jk7JmP4a0maALqmsSNdazNGBJLIdxhXAxEmegHc/xHJNbtBorjlJyd2YpWCiiipAKKKKACiiigAooooAKwL7PhfUf+Ei09WSzdwNVtU+46E488Ds69SR1XOe1b9VNahW40e+gkAKyW0ikH0KmtaM3GS7Cfc7BWDKGUggjII70tYfw+uZLzwLoV1KSXksIWYnudgrcrpas7HQndBRRRSGFFFFABRRRQAUUUUAFFFFABRRRQAVDe3VtY2kt5eXEVtbQoXlllcKiKOpJPAFY3jTxdpPhW0je+aWe8uDts7C2XzLm6f+7Gnf3JwB3Irim0XWPF13HqXjry1tI332ugQvut4v7rTt/wAtpB6fcU9AetAHceEfFvh3xZbzT6BqkV4IH2SqAVdPQlWAIBHIOMEcjNblec+IvC9vqV3Dq2n3U2j65bKFt9RtQA4Uf8s5F6SR/wCw34YPNWvC/jq4i1KHw542todK1iT5ba6jJ+xagf8Apkx+6/rG3PpuoA7yiiigAooooAKKKKACiiigAooooAKKKKACiiigAqG7tbW7QR3VvDOgOQsqBgD64NTUUAUP7F0b/oE2H/gMn+FH9i6N/wBAmw/8Bk/wq/RTuxWRQ/sXRv8AoE2H/gMn+FH9i6N/0CbD/wABk/wq/RRdhZFD+xdG/wCgTYf+Ayf4Uf2Lo3/QJsP/AAGT/Cr9FF2FkUP7F0b/AKBNh/4DJ/hR/Yujf9Amw/8AAZP8Kv0UczCyKA0XR1YMuk2AIOQRbpx+lX6KKVx2CiiigAooooAKKKKACiiigAqnrOmWWsabNp+oQia3lGGU8EHsQexB5BHQ1cooTsBxsPhnxVbxiCHxZbSRJ8sbXGmb5NvbcwkG4474Gad/wj/i7/oaNN/8FB/+O12FFPTsvuQ7y7v7zyL4wr8SfDXw71XV/DmoQ6xqsUYFvbWujEuSWALf6w8AZPQ9K+adA/ax8aWOpjTvGmk29p5fyzPBYETK3vG7qP1Ffedcx42+H/grxpbtD4o8NabqeRgSSwjzV+jj5h+BqbRvey+5D55W3Z5V4B+KHh3x9CkGkfFXSLW6mG021zpX2a5XP93fKQT6EbhmvbPD+k2OiaXHYafHtiXLFidzSMers38THqTXy/8AEP8AYt8OXqyXXgbxBdaTPnKW17++h+gYfOP1rzc6T+1J8D5d9jJqWraPCOkLG/tSo9UPzJ+Qqr6WSJd3uz74or5A+H37aVoWWy+IHhaa0mVtr3WnHco9d0TnI/An6V9F+Afir8PvHUUZ8M+KdPvJnAP2ZpPLnHsY2w2fwpAdpRRRQAUUUUAFFFFABRTLiaK3heaeRIokUs7uwCqB1JJ6VxtzrWqeJnNv4dd7DSuRJqrJ88w9LdT2/wBs8egPWk2ormk7IOtkafiHxPHZ3f8AZOlW51PWGGRbo2EhB6NK/RF/U9hWfpehyfbl1jXLoalq2PkcriK2HdYU/h/3vvHuavaNpVjo9p9msYdik7pHYlnlbuzseWY+pq9Xl4jGOfuw0X4s6adG2stwooorhNwooooAKBRRQBz9xo15pd5JqnhaSO3mkbdcWEhxbXJzycD/AFb/AO0OvcGtzw54js9ZMlv5ctnqMA/0iyuBiWP39GX0YZBqSszXdFtNWEckjS215Bzb3kDbZoT7HuPVTkHuK9HD45r3auq79f8AgnNUodYHU0Vx+n+JLzSbiPT/ABb5cYdtlvqka7beY9lcf8snPoflPY9q7AcjNel0utjnuFFFFAwooooAKKKKACiiigAooooAK5T4lf8AHpov/YYt/wD2aurrlPiV/wAemi/9hi3/APZqaIn8LJaKKK4TIKKK4H41fEN/AWj6emnaW2r69rF2LPS7ENtEkh6lj2UZH500rgjvqK8T8VeNPjD4T+HfifWvFGheHLa4sbFLixu7GZpYvMMiqYpEY5yAxORxxXaX/wATfCHhvw9od54y8RWGlXWpWUVwsb7iWLKCSFUEhcnr0p8rHZncUVyPiD4meAdA0bT9Z1fxVp9tp+pKWsp9zOs4HUrtBJxkU9/iP4FTwra+KW8T2A0S6uBaw3uW8tpTnCHjKng9cY70rMLM6uisrwr4i0TxVo0es+HtRh1HT5HZEuIgdrMpww5APBFatIQVBqH/AB4XP/XF/wD0E1PUGof8eFz/ANcX/wDQTVQ+JCexa+GH/JOfDv8A2DoP/QBXR1znww/5Jz4d/wCwdB/6AK6Ou2fxM3jsgoooqSgooooAKKKKACiiigAooqnreq6bommT6nq17BZWcC7pJpnCqo/x9upoAuVwXiTx1cXWoz+HfA9vDqeqRHZdXspP2LTz3EjD78npGvPqVrJvdQ8RePyY4De+G/CrcFuYr/UFz27wREd/vkH+Gui0jTdP0jTotO0uzhs7SEYjhiXao/xPqepoAy/DXhi20m6m1S7up9W1y5GLnU7rBlcf3EA4jjHZF4+p5rfoooAKp6zpen6zpsum6rZw3lpKPnilXIOOh9iOoI5FXKKAOTsdU8QeAAI75rzxF4VQACfBlv8AT1/2wOZ4gO4+cDqG616Po+p6frGmwalpV5Be2c67opoXDKw9iKxK5S78Paloeoza54FnhsrqVt93pcxIsr455JA/1Uh/56KOf4gaAPUaK5nwX4003xK01kYptN1m1H+l6Xd4WeHnG4dnQ9nXIP6V01ABRRRQAUUUUAFFFFABRRRQAUUUUAFFFFABRRRQAUUUUAFFFFABRRRQAUUUUAFFFFABRRRQAUUUUAFFFFABRRRQAUUUUAFFFFABRRRQBwnxA+EHw58dRSDxF4VsJrhwf9KhTyZwfXemCfxzXzr4+/YuMM39ofDvxZJbyodyW2o5yp7bZUGR+I/GvsWigD4HTxT+1D8EXaPWbbUNU0iHgtdx/brbaO4lX5lH1I+len/Dz9s/wnqIitvGuh3miXB4e4tf38GfXH3wPwNfVDKrKVZQykYIIyDXl/xE+APws8cK8mpeGYLO8bJ+16f/AKPLn1O3hvxBoA6/wb448IeMrX7R4X8Rabqq4yVt5wXUf7S/eH4iuir4o8Y/sdeKtCvzqvw08YeY8Z3RRXLm2uEPoJU4P4hawLX4x/tHfB51s/G2j3Wo2EbYDarblwR6LcJ1/EmgD72rK8R6/p+h26Pdu7zynbb20K75p2/uoo5P16Dua8W+GP7RsPxF0SZ9L8NXGkXkMkcE93eyB7G3dwcFpFwT0OFIGfWvUdE0OGxuJNQuLiTUNUnH729mwWI/uoBwieij9ayr1o0Ypy67DhFzdkVDpmpeIplu/FG2O0Vt0GkRtujX0Mx/5aN7fdHv1roQAoCqAABgAdqWivGrVp1XeR2QgoLQKKKKyLCiivEP2soPFkml+HrjS4dduvDMF4z+ILfRJTHePFgbSpHO0fNnHtmrpw55ctxSdlc9uYhfvEL9TigMpJAYEjqAelfLGs6v4Ab4LeHJvDd7rfiXTW8YWqeXqmoSLc2UzH7jEc4GMhTwc9ap+Jde8VeH7z4/ar4VkEd3bahamS4MxR7aLYd0kfqwOBj3NbLDt9f6uR7Q+tKK4f4Hap4t1n4b6XqPjK0tIL+aCNont5/N8+IxqVlc9nbJyK7iueSs7Fp3QUUUUhkd1BBdW8ltcwxzQyKVeORQysD2IPWsCGPV/Ch3aYs2q6KDlrFm3XFsP+mLH76j+4efQ9q6Oit6GInRem3YznSU/Us6Lq2n6zYre6bdJcQklSRwUYdVYHlWHcHmrtcXreki2nm1/Sb6LSNQRC00z/8AHvOo7TL0I/2uGHr2r5/+L37WHiDwV4rj0e08G2E8RtY5jJcTyDzC2fmQgcxnGQcDNezSqRqx54HG04vlkfWlFfDqftv+JP4/Amkn6Xkg/pU6ftwa1/H4B08/S/f/AOJqwPtuivipP24dQ/j+H9qfpqLf/EVMn7cUv8fw8Q/TU/8A7XQB9n0V8bp+3HF/H8OXP01Uf/GqlX9uOx/i+HFx+Grr/wDGqAPsOivj9f24tM/i+Hd4Ppqq/wDxupF/bh0X+L4fagPpqSH/ANkoA+vK5T4lf8emif8AYZt/5NXzkv7cHh/+LwDqg+l9Gf8A2Wrvh79p7RPif4x8OeErPwtqGnTz6nHKJpbhHUBFYkYAzTRM/hZ9C0UUVwmIV5F+0d4c8TXk3hLxn4T07+1dQ8Lan9rewBw88TY3bfUjb0969do6GmnZjTseB/E3xT4m+I3wi8XaVZfDbxJpSf2ehja+jAknm81P3ccY5bAyc+1cZ498JeK9K8e6f4kl0rxPc6beeGrSxD6NZ29zNbSJGFeJ0mRgoJycjHXr1r6vyc9aKpTt0HzHy1faX4t8LeAfA2meH/DPidNFH2tr1v7OtrrVbVnfKJh1KRq3XgdPpWJYeB/FTfAJdFvfDGqm6fx/HcyWk9uDIbc/edlUbdvPJA2+nFfYGTS8+9HOPmILS1tbO3W3s7eG2gT7scSBFH0A4qaiioICoL/mxuB/0xf/ANBNT1BqP/IPuf8Ari//AKCaqPxIT2Pmvw9+2L4b8OaJZ+H5vBurTyadCtq8qXUYDlBtJAI6HFaA/be8Kd/BGtD/ALeYq9h+H3w0+Ht/4E0O8vfBegz3E1hFJLLJZIWdioJJOOSTW03wj+GDfe8B+Hj/ANuKf4V2z+JnRHZHgy/tu+EP4vBeuD/tvF/jUi/tt+Cz97wfro/7axf417i3wd+FjdfAPh7/AMAk/wAKjb4L/CdvvfD/AMP/APgGtSM8WX9tjwN/F4U18f8AAov8aev7a3gLv4Y8QD/v1/8AFV7E3wR+Ebdfh74f/wDAQVGfgX8Hz1+Hfh//AMBhQB5Kv7anw9/i8O+IR/wGP/4qnr+2l8OT10HxCP8AtnH/APFV6qfgR8Hj/wA070H/AMB//r0xvgH8G26/D3RPwjI/rQB5iv7aHw176N4iH/bGP/4upF/bO+GB+9pfiIf9u8f/AMXXor/s9/Blv+af6UPpvH/s1Qv+zp8F2/5kPTx9HkH/ALNQBwi/tl/Cs9bDxEP+3VP/AIupPht8QvC/xm+JGqahGupXVlpsEMukWt/GEhiccTOIwSGkDFDuOSAwxiuxf9mz4Kt/zI9qPpPKP/Zqq6z4B8M/C2LQNX8G6OmnWMGreVqKK7NmK6CwliWJOFcRH04NAHoFFFFABRRTJpYoYXmmkSKJFLO7sFVQOpJPQUAPorK8NeI9B8S2k154f1a01S3hlMMkttIHVXABK5HfkVq0AFFFFAHFfGK0tF8JXGtpHMmt2KgaTdWrbLiO4dgsaqw6hmIBU5BGcivU9NS6j062jvpVmulhQTyKuA7gDcQO2TmvOdehl1r4heFtAjYfZrWSTWb4eqw/LCv4yuD/AMAr06gAooooAKKKKACiiigAooooAKKKKACiiigAooooAKKKKACiiigAooooAKKKKACiiigAooooAKKKKACiiigAooooAKKKKACiiigAooooAKKKKACiiigAqK7t7e7t3t7qCKeFxh45UDKw9CDwalooAw9B8H+FtAtL600Xw/p1hbahIZbuGCBVSZiMZZenQVjXOj6p4XJn0FJdS0gEs+mM2ZYB6wMeo/6Zn8D2rtaKUoxkuWSug2d0c5o+qWOr2f2rT5xLGGKuMENGw6qynlWHoau1S8QeGFurw6vo1wNM1gDBmVcx3A7LMn8Y9+o7GqOla4z3w0jWbX+zNWx8sLNmO4A6tC/8Y9uo7ivKxGDdP3oar8V/Xc6ada+ktzboooriNwriviT4d8bavdafqHgnxuPDl1aq6Swz2YuLe5VsYLKejLjgj1rtaKcZOLuJq54QP2fpI/BkWlL4nFxq0/iWHX9Tvprbas8iE5REU/KOeK3Z/g6bx/ifHe60ot/HBQx+VCd9ptXAzk4bnB7cV61RWnt59yeRHI/CTw74i8KeC7XQvEniCDW7i0AignhtfJVIVUKiY7kAdT6111FFZt3dykrBRRRSGFZuu61Z6QkazeZNdTkrbWkC7pp29FX+ZPA7mqN1rV3qV5LpXheGO7uYyVuL2TP2a0PoSPvv/sD8SK2/Dfhuz0eSS7eSS+1Ocfv76fBkf/ZHZF9FHFejh8C371XRduv/AADnqV+kTLsPDd7rE8eoeLPLMaNvt9KjbdDH6GU/8tX/APHR2B610lzpmm3Lh7nT7SZwAu6SFWOPTkVbor0lZJJbHOZraBoLfe0XTT9bVP8ACmHw14cb72gaUfrZx/4Vq0UAY7eFfC7fe8N6OfrYx/8AxNRt4O8It97wtoh+thF/8TW5RQBz7eCPBjfe8JaCfrp8X/xNRnwD4Gbr4N8Pn/uHRf8AxNdJRQBzDfDvwC33vBfh4/8AcOi/+JqNvhr8PW+94H8On/uHRf8AxNdXRQByDfC/4cN97wL4cP8A3Dov8K5/xd4D8FaDPoWpaL4U0bTr1dXgVZ7azSNwCGyAQM816fXJ/Ev/AI9NE/7DNv8AyamtyZ/CyavNf2jvGmreCfh19r0Dy11jUL2HT7OSRcrE8h5fHsBx716VXFfGnwHH8RfAs/h/7abC7WZLmyugu7yZkOVJHp1Brija+pktzjpPAvjHwj4Y1rWbr4n67rX/ABI7w31reAFDN5LFXhI5j2t+lc38B/jFcW/hnwH4c8Q+G9eSLVl+xW2vXThormcE8DJ3EdBuNddp/h341appl9pXi7xD4XNjJpdxaBbK3fzLqR4iiPIzD5QCQTt61Qg+E3iCPwh8KtIN5p5n8Iaglzfne22RRniPjk898VenUq6L/jL4z3nhPWZU1j4d+IINCivVs21dnjEZLNtDhM5Kk9KTxl8bDofjDXPDGm+Btb1+60e2ju5pLNl2CFk3M7E/dwMcc5rzrxd+z7471jVtYZtS8M38d3qv2+HUr1Zjfqm8MIQ3KooHYV6nY/D3WIPiL478RNdWn2XxDosNhaoGO9JEj2kvxgDPpmi0QtExvD37QOm6vq3hxW8H6/Y6L4huBaWWrXKqInuD1QAEkgHjd+NcV4b+Kus+DfF3xRlufDXiLxLp1lrrSTTwSgw6fAMjHzHj/dHpXVW/wf8AEUfw8+GXh1r3TvtPhXWUvr1t7bJEDMSE45PPfFZ2s/Cf4ppd+O7fw74g8O22leMdQkkuUuInaWGFuNysBjcQWBH60/dDQ63xJ8bNNtrnSLHwr4d1PxXf6npq6otvZsqeTbN0Zy3frx7VT1H4/aLF4Z8K65p3h3VtT/4SOee1htINvnxXEWAYyvcliBkH3rm/GH7P97Hqehal4VXw7qh0/RotKuLTxBAzxSeX92VSvIbrW5a/CfXI3+G8oTw7Yt4b1O4vdQg06JoYGEmMCJcHJ45zilaIWieteGr+71TQbPUL/SrjSbqeIPLZTsDJA391iOCas6j/AMg+5/64v/6CanFQaj/yD7n/AK4v/wCgmph8SM3sWvhd/wAk48O/9g2D/wBAFdJXN/C7/knHh3/sGwf+gCukrtn8TOiOyCiiipGFFFFABRRRQAUUUUAFY/jXRI/EnhHVdCkbaL61eFX/ALjEfK31BwfwrYooA888A6tJrXg7TNQuCPtRh8q6A/hnjJSQf99q1btcr4fjj0P4h+KPDSgpFcSJrVop6bZsrKB9JUJP++K6qgAqlrmj6Zr+mS6RrFnHe2NwVE0EmdsgDAgHHUZA471drL8V6FZ+JfD93oeoS3cVtdKFke1mMUoAIPyuOR0oA8h/Y6hit/CvjCCCNIoo/FV2iIgwFACgADsK9yrz34a/B/wh8PdZm1Xw7JrCzTRvHIlzftLG24glip43fKOetehUAFFFYvjnWf8AhH/CGqawqGSW3t2MEY6ySn5Y1HuWKigBnwphTVPEfinxdv8AMSe7XS7M9hBbZDEfWVpP++RXodYXw/0NfDfgvSdEUfPa2yrKf70pGXb8WLH8a3aACiiigAooooAKKKKACiiigAooooAKKKKACiiigAooooAKKKKACiiigAooooAKKKKACiiigAooooAKKKKACiiigAooooAKKKKACiiigAooooAKKKKACiiigAooooAKoa7o+na3Ymz1K3WaPO5Gzh427MrDlWHqKv0U07A1c4aWfVvCreXrLS6lo2cJqSpmW3HpOo6j/poB9QOtdBBLFPAk8EiSxSKGR0YFWB6EEda2GAZSrAEHgg965C+8N3uizSX/AIT2eU7b7jSZG2wyepiP/LJ/b7p9B1rir4ONT3oaP8P+B+RpCq46PVG1RWboWtWerxyCDzIbmAhbm1mXZNA3oy/yPQ9jWlXlSjKD5ZKzOtNNXQUUUVIwoorI1rXYrG5j0+1t5NR1WYZisoCN2P77noif7R/DNXTpyqS5Yq7JlJRV2X9SvrPTbKS8v7mO3t4x80jnAHt7n2rGgtNX8WfNcLc6NoR/5Z/cu7se/eJD6fePtV7RvDE0l7FrHiaeO/1BOYIEB+zWn+4p+83+2efTFdTXr0MLCjq9ZfgvT/M5J1JT8kV9NsbPTbKKysLaK2tohhI41woFWKKK6SAooooAKKKKACiiigAooooAKKKKACuT+Jf/AB6aJ/2Gbf8Ak1dZXKfE/EejWF452xWuqW0sjHoq79pJ9vmpx3In8LJaKO9FcJkFFFFABRRRQAUUUUAFFFFABVfUf+Qfc/8AXF//AEE1Yqjr9wlroV/cyHCxW0jH8FNVD4kJ7Gh8Lv8AknHh3/sGwf8AoArpKxfAlnJp/gvRbGUESQWMKMD2IQZrartl8TOiOyCiiipGFFFFABRRRQAUUUUAFFFFAHnvxVRtL8R+FvFSRjy4rttLvW9IbnAVj7CVY/8Avo1uVZ+IGht4l8FatoccgimurZlgk/55yjmNvwYKfwrnPBWtDXPCemarKyJPcW6mdNw+SUfLIv4MGFAG1RTfMj/56J/30KPMj/56J/30KAHUU3zI/wDnon/fQo8yP/non/fQoAdXLeKI5NY8a+FfDUY3Qm6bVb3uPKt8FAfrK0f/AHya6fzI/wDnon/fQrE+GUS6t4z8U+KfMEkSSpo9kR0CQfNKR9ZXYf8AAKAPQ6KKKACiiigAooooAKKKKACiiigAooooAKKKKACiiigAooooAKKKKACiiigAooooAKKKKACiiigAooooAKKKKACiiigAooooAKKKKACiiigAooooAKKKKACiiigAooooAKKKKACiiigDD8SeG7TWJI7yOWSw1OAfuL6DiRf9luzp6qePpWNaa1d6fex6T4ohjtLqQhbe7jz9muz6KT9x/wDYb8Ca7Wq+pWNnqVlJZX9tFc28ow8ci5BrOrShVVp/eOMnB3iUaRiFUsxAAGST0Arnri11rwmC1ul3rmiDAES/PeWo9s/61Pr8w96fbaJqfiZluPEaPY6Xw0elK/zy+9ww6/7g49c1wRy+fNZvTv8A8A3eIVttRi6lqXiOZrXwwRFZg7ZtXkTMY55WFT/rG/2vuj36V0nhzQdP0K2aKzR3llO6e5mbfNO3952PJ/kO1aMMUUMKQwxpHGgCoiLhVA6AAdKfXowhGnHlgtDnbcneQUUUVQBRRRQAUUUUAFFFFABRRRQAUUUUAFFFFABVTWNPtdW0u5029jElvcxmORfY/wBat0U07aged6bqE+k3SeH/ABFIIr1Pktbp+I75B0ZT034+8vXPI4rerd1LT7HUrRrTULSC6gbrHKgZT+Brmn+H2iBj9ku9bsU/5522pzKg+g3HFRKlCTvexi4SWxY5o5qt/wAK/wBP/wCg74m/8G0v+NH/AAr/AE//AKD3if8A8G0v+NT7CP8AN+AuWXYs80c1W/4V/p//AEHvE/8A4Npf8aP+Ff6f/wBB7xP/AODaX/Gj2Ef5vwDll2LPNHNVv+Ff6f8A9B7xP/4Npf8AGj/hX+n/APQe8T/+DaX/ABo9hH+b8A5ZdizzRzVb/hX+n/8AQe8T/wDg2l/xo/4V/p//AEHvE/8A4Npf8aPYR/m/AOWXYsOyohd2CqBkknAArBgU+NL+K0swW0CCUSXl2OEumU5EMf8AeXIBZunGOcmtq28AeHkkEl4t/qhHRb+9knT/AL5Y7T+IrqYY44YlihjSONRhVUYCj0A7VcIRg7p3Y1Tb3HUUUUzYKKKKACiiigAooooAKKKKACiiigArlrr4c+A7q5lubjwfoks0zmSR2s0JdicknjqTXU0UAcl/wrP4e/8AQl6F/wCASf4Uf8Kz+Hv/AEJehf8AgEn+FdbRQByX/Cs/h7/0Jehf+ASf4Uf8Kz+Hv/Ql6F/4BJ/hXW0UAcl/wrP4e/8AQl6F/wCASf4V0OjaXpui6dHp2k2NtY2cWfLgt4wiLk5OAOOSSa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B//Z">
            <a:extLst>
              <a:ext uri="{FF2B5EF4-FFF2-40B4-BE49-F238E27FC236}">
                <a16:creationId xmlns:a16="http://schemas.microsoft.com/office/drawing/2014/main" id="{1876E805-113B-4E09-A212-5AB6C2EF17E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AutoShape 10" descr="data:image/jpg;base64,%20/9j/4AAQSkZJRgABAQEAYABgAAD/2wBDAAUDBAQEAwUEBAQFBQUGBwwIBwcHBw8LCwkMEQ8SEhEPERETFhwXExQaFRERGCEYGh0dHx8fExciJCIeJBweHx7/2wBDAQUFBQcGBw4ICA4eFBEUHh4eHh4eHh4eHh4eHh4eHh4eHh4eHh4eHh4eHh4eHh4eHh4eHh4eHh4eHh4eHh4eHh7/wAARCAFKA0Q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82+MXxUh+HuqaLZf2RLqQvH86/dJNosbMOkbTtxzhpFGPrzQB6TRWbruv6HoVil9rWr2OnWrkKkt1OsasT0AJPNV9U8XeFtLs7S81LxFpVpbXoBtZZrtEWYHuhJ+YfSgDaorJ13xN4c0FYG1rXdN00XB/c/arlI/M/3dx5rB8WfFDwd4X8U6N4e1jVra3n1aKSaKVpkWKJFXIZyWGA3RSAckGgDtKKRSGUMpBBGQR3paACiiigAooooAKKKKACiiigAorn/AIj+Iz4Q8B614nFp9rOmWj3Ag37fM2jpnnFZfgzxB4vvLc6l4u0PRNE0o2q3CXEOqGUjIBwwZFCjB65oA7SiueTxdoup+H9T1LwzrGkau1jC7ny75PKVwpIEjjOwcdT0HNY+meN7ufxfoWh3drYRxaj4ffVp54bnzUjZWjG1H6MmHJ3ewoA7mis4a9opsbG+GrWJtb90js5vPXZcO33VQ5wxPYDrULeJ/Da6tHpDa9pg1GSVoUtTdJ5rSKASoXOcgEHHvQBr0VkWHijw3f6zNo1jr+mXOpQ5821iukaVMdcqDnirup6lp2lxRy6lfW1nHJIIkeeUIGc5IUE9+Dx7UAWqK5z/AITzwT/Zf9qf8JdoX2HzvI+0fb4/L8z+5uzjPtWlrOvaJo2mDU9X1ewsLE4xcXFwscZz0wxODmgDRorOt9d0W40Q65b6vYS6WELm8S4UwhR1O/OMfjXL6F8Q7HXfiWPDei3Gnajph0X+0Rf2twJMuJvLKfLxjHPrQB3NFZGl+KPDeq6pPpema/pl7fW+fOt4LpHkTHXKg5rXoAKKKKACiiigAoorz7xp408T2PxDtPBvhbw7p+qXU2ltqUkt5fm3VEEvl7RhGyc0Aeg0Vzcni3TdF02xPjTVNF0HUrhAXt5L9dobPRWbaWHvgVJqWvXNv4r0rS7dNNls720nuGke9Cz/ACBSvlxYzIp3csDxx60AdBRXHfDLxvB4o8G6Dq+pNZ6ff6wsxgtBNy5jdgwQHlsBcn0rem8QaFCt60usWEa2EqxXha4UC3dsbVfn5SdwwD6igDTorDPjDwmNJn1c+JNI/s+CYwS3X2xPKSQdULZxu9utaelajYarYRX+mXtve2kozHNBIHRh7EcGgCzRXnWreP8AXb3xdqXhvwJ4Xh12XR9q6pd3V8LWCGVl3CFTtYu+0gnjAyMmuh/4TDTdM0Gxv/GNxY+F7q5X57W+vYwUfPKhs4b6j1oA6SiqQ1bSy9ig1G0LagCbMCZT9owu47OfmwvPHamSa5o0a6g0mrWSLppAvi06gWxKhh5nPy8EHnsaANCisiw8T+G7/RZdbs9e0240yIkSXcdyhhQjrls4FT6Drmja/ZG90PVbLUrYMVMtrOsihvQlT1oA0KKKKACiiigAooooAKKKhv5/stjcXW3d5MTSbc9cDOKAJqK88+BPxLHxL8Ly6lc6V/Y9/A0ZlszN5mIpY1kikBwMhkb06gjtVT4b/FmDxp8QPE3h6HSvsunaPGJbfUXmBW7QSPG7hcfKoeN8HPOKAPTqKxtF8U+HNdluYdD17S9Tnth+9jtrpJCn+9tJwPes/QPGNjJ4X0/VfEmoaHpc94krqsepJLCwQnJSQ4DYABOOlAHU0VxnjH4neDvDPgSTxnNq9rfaUHEcT2c8cnnuWxtQ7gCRySM9Aa1v+Ey8Jjw/H4gbxHpSaVI21LxrtBEzdMBs4Jz2oA3aKzT4g0IabbakdZ08WV0wW3uPtCeXKSCQFbOCcA/kabo3iTw/rVhNqGka3p1/aQErNPb3KOkZHUMQcD8aANSisfQ/FPhrXRc/2Lr+maj9l/1/2a6STyv97B4pmneL/Cmo6lDpun+JNIur2aITRW8N5G8joRncFByRigDborJvfE/hyx1qHRLzXtMt9Tnx5VpLdIsz56YQnJpL7xR4bsdZh0W91/TLbUpseXaS3SLK+emFJzzQBr0VmeKJ9cttIeXw7p9nqGoBl2QXVyYIyM8kuFbHHtXnngH4ieMtfvdSm1bwzoOkaPpGpTafqV42sEmJ4lBZlBjAK/MvJI70AerUVlaH4l8Pa5ZzXmja5p2oW0BImltrlJFjOM/MQeOPWuX8c/ErSNM+Hes+KfC9/pevPpjQo8cN0HQM8qJhihOOGJ/CgDvaKpQarps2pyaVHfWzajFCs8tqsoMsaNwGK9QCehq7QAUUUUAFFFFABRRRQAUVwXxf8W+LPBmiXviDSPDmm6rpOn2T3V28+oNBKNmSVVQjA8D1FO8O+N7230VdW+ISeHvC9tcpG9k39rB/NDLk53qmCMjpnrQB3dFZV/4k8P6fosetX2uadbaZKAY7uS5RYnB6YYnBz7Vi3njOP/hNfC2j6b9kvdP122u7gXkcu4AQqhXaRwQdx/KgDr6Kp6Rqmm6vaG70q/tr63DtH5tvKHTcpwwyOMg8GvPPAvjvxx4uvZ7qw8JaTHoUGqz2ElzJqrCfbDIUZxH5eM8ZA3UAen0Vj2/inw1casukwa/pcuoO0irapdIZS0f+sG3Ocrg59MUuj+KPDes309hpOvaZf3dv/robe6SR4+3IByKANeisOXxj4Tj1K402TxNo6XtsVE9ubyMSRliAAy5yMkgfUitBNU02S4vbdL+2aaxCm7jEoLQAruG8fw5HPPagC5RWRfeJ/DljokOt3mvabb6ZOqtDdyXKLFIG5BVicHPtUj+INBTTrbUm1nT1srpgtvcG5QRysQSArZwTgH8jQBp0Vm6F4g0PXrKS90TWLDUraNikktrcLIiMOoJU8GqVp428H3cM81r4p0WeO3lSGZo72NhHI7bVViDwSxwPU0Ab9FVZtS0+HU4NMlvbdL64RpIbdpAJJFXG5lXqQMjJ96tUAFFFFABRRRQAUUUUAFFFFABRRRQAV4FNovi74heKviDqlha6E2jXkTeGbf8AtUTK/kxKfNeMKPutK7HPcoPSvfaAABwAKAPmNtUju/Afg7VfEuvyaD4y8MC803fe6W95aXMsWIpEkUL1dVQqwIY5OM1a8Y62E0/w347nSHw94vPh3YPD15o8lzaXsbPv+zphcxyFlGMHcAwyMV9I7F/ur1z070FVJGQDjpx0oA+ZvF51KL4rajrHirWovCNpq+hWK2IvNDXUIlHlnz7YORiNhISSv8WQe1XbnT9E8FyfCDVLy8uNT8O6dBfWkmpz6c+797HmEPHtLIMgqoI44r6MZVYYZQR7ilIDDBAI96AERlZFZfukZHHaloooAKKKKACiiigAooooAKKKKAOC/aHjkm+B/jGKKN5HbSpgqopLE47AVzWuaRc+C/g5fa3ZTa14mnOm24NhrE73tvGCU3P5OMnYCWwOSFxXsRAIwRkUUAfLnhiWXUPF3j+6t9ZGv283gV41vbbRTYQyOGk+RVAxIRnGeTzjtXV+E7C6uPEHge3WCRWf4cyQZZCArnyAAfQ+1e7hVAwFAGMdKAo44HHA4oA+WtI8QWV74F+E/g2C11M61ofiCxj1SBrCVRZmMuh8xiu0ZJGME5HNeheDPDaz6n8W9SsdNiTxBc6tPDZXkkeJARaR+VtYjgBmPI7k17HtXJ+UcnPSlAAzgAZ60AfLHwk0mwvJPAml6l42a11jRLmOU6MnhnyLqK4VGWRJJgMlTlsuThuDXrH7Q+l2+s6b4P0+8she2kviywFxCyFlZPnzuH931zxXp21dxbaMnqcc0EA4yM80AeIWHg/QJfjv8QWl8N2TQHw9ZrGGtB5eXWUPtGNuSFUHHPArkPCVxb6Tpnwi8ReOrO4m8O2nh65tRLNaPNHZ3paMRPIoBK/uldQxHH419P4Gc4GaQqpXaVG30xxQB8uapp32rwv4p8Rafot4fAV34x0/UDYpaOn2iyjCi6lWDAby2kAbGPmCk45rXBsPEnxN8Xaj8NtPkt/t/gWe2tL6Kza2iubsOQpQsBkrlRux274r6N7Y7UgVVxhQPoKAPmT4RabpOoax4Ghk8bFNS0Mhk0eLwz9kuIXERWSKaQDheuSeGIB5r6cpAqhiwUAnqcUtABRRRQAUUUUAFePeM/Dr+IP2jdPjbUdb0yKPwrIftGm3LQMW+1D5S4HI74r2GjAznAz60AfPfxf1CbS/Edz4Xn1CPS7aLQUFvqV5oh1S81hmMgaAORjK4GR1JfPSovhpb3n9qfBhpoLgNF4NvUkLo2UbZAAGz0PHQ19EEAkEgEjp7UBV4+UcdOOlAHzL4YlXw34S+DfizWIbqDStLn1GC+mFu7m2MwkWNnVQSFJGM47iqOrvH4l8G/GW9t7C+ax1PX9OaFZrV4nmixApYKQGwQDz6V9UbV27dox6Y4oKqc/KOevFAHgvx20RtE8XeB76wmg8O+GLBLqKW5j0hby3tbhkQRM8OMDKqyiQj5fbNdd+z5penWGi63eaX4mfX4dR1R7l5V042cKSFFDCKPGNpwCSOCc+9emkAjBAI9KAABgAAUAeH+FPEWnfC7x7450zxp9qsLfWdYbV9Mv/ALLJLDcxyRopTcinDqykbTz0xVb4l+NUv/E+iPF5Ph3Sr/SJJ4dY1Dw493cTt5m37IsbD5CR8+Dy2RgV7wyqw+ZQfqKCAcZAODkZoA+Z/CFwfDXw9+DHibW4b2HTdIur6K+l+yOWthLHNHGzoASi5wOnGRUkT6B4os/ivf6tPq+kaPf69p81tff2dIWQpBCY5miKktFuQE7hgg84r6UKqV2lQR6Yo2jngc9eOtAHy74p1HxN4q+GlrdNHB/ZejeLoDc6tp+jMYb60RM/ajaN99VdgGHIO3I4FeifAmx0ybxV4i8Raf42XxHLeW9tDcrb6P8AYbdShfY3A2u+CQSOQMZ7V6+AAMAAD0pFVVGFUAegFAC0UUUAFFFFABRRRQAVT10E6HfgAkm2kwB/umrlFAHylbL4m8F+BPAGv+FtMupr7xT4UtfDlwiIf9Hu/LBtrhx22hpAc+1dTZ6PL4H8Z+L7HR9BOsR6V8P7OG3tGiJS9kR59yHj5ixySOp3e9fQe1cAYGB0pcDOcDPrQB80/C7UJNW+M/hy+i1qDVV/4R+9WcWWgGwgs2PkkQbsfOQQflPK496b4N0ODUtK+BtpqulfabeG41OWSKeElUYK5QsCMdcEZ719LhVHRQPwoCrx8o46cdKAPm3x5oL/APCEfGvTtM0ljCmqW13BbQ25Iz5MDytGoHU4Ynb71J8TNRtNV8V+BvF+ka0uleE47G7gTUm0Q3VvbXRKffiYDYWUMocjsRnmvo/A54HPWk2rt27Rt9McUAfOD+F9Hn8BeHbKHUz4p0vU/H0N3Of7NNrAAwO9EixgR7hnj5SWNa/iGKTwz49+KV5ofhaHUE/4RmxnXThbfuLqQGZTlFGGwoGQOSBiveNq4AwMDpx0pcDOcDPrQB80fDi8k1L4vi8g1yLW4T4Ru45JrPQjYW8T+ZERCDj94Rz15X8TU/hbwzp2n/Bz4RX1nokdtqKa/YTSzJb7ZgZGcSFmxuwQcHPGMV9HhVHRQPwo2rgDaMDpxQB4H4Vv/CGi+KvGOh+PNFkuvEWo+JXuLYSaW9w15AxT7M0TBSNqAeo24J4ri9V0eObU/HHhrxh4z/4R+41TXbmYQSeG/tM9zAzg28kNwAWbCBAMfcK4r6w2rkNtGR0OKCqkhioJHQ46UAQ6fGYbC3haV5ikSqZHGGfA6n3NeBRX+o6D8NPiZf2+gxalJ/wmdwfKu7Rp4kjZoAZzGBmRUGXwOu2voSkwADwOaAPmPwnHpus+IPiH/a2vXesaHe+F4IbnUtO0NrION8obykUHzCoP3gD6dqi1nVtQ1b4MeOtBtZLTW7Cwh09LLXbHSmtTdEzpmNo8YZ4woJK/L83QHNfUIVV+6oH0FG1du3aNvpjigDyX4Ewv4f17xH4V8Q2jt4rNwb6fV3Qn+2bdziOYN0XaPkMY4XHAwa9bpMDO7Az60tABRRRQAUUUUAFFFFAHCftCRyTfA7xpFDG8kjaNchURSSTsPAA61w3xG1y40uTwVp8z2Oh2c2jF21260Y37RyKsYFqi4wrODnnrtwK90IBGCMikKqQAVBA9qAPlzw5a6bH8FvCF9q3iCfw/qGm61qU+mXV3ozSW5YzSqUmgxiMMjfKOCP4at+NYPGXj7R/AUmm2f9gazd6TquYIYmhikUbP3eThoVmUcHhlD19MFVIwVBHpilwM5wM0Acl8INU0XVfh/pr6FpLaLbWyG1fTWiMbWcsfyvER3IPfv17159+z34SaTT9R1ubWfElo6eJdRcWKXrR2rgXD4zFjBB/WvbgAM4AGaAAOgAoA+fvDvhW4ufhb8V59C0oJ4lv9a1lLecR7Z3O5lUIx5GVJAxxz71mfCTTtL1TxL4Okh8dh9S0W2kEWkweGvsUkWYdjxTuBwAecN1IBFfSgAHQAUgVQSQoBPU460AfH93d+Frb4NaR4XvtDnXxvYeI7d9QZ9NcSwzG/XfO8xXG11IAO47twH09I1rxBY+D/AIlfE211q31FZvEFjayaSsFlJN9sK2zRMiFQQWDdQcYBzXr3jPwzpvizRf7J1Qzrb/aILgmFwrF4ZFkTnB43KM+1bZAJBwMjoaAPlV7TUtP0T4R6tqGqNoOkWvhc2xvZ9I+3RWt2yx4Dxn/VlkDAOfQjvWyfCujS+BfCthBqR8U6VqPj+K7nZtNNtBhw5dVixgRbhn+6cmvpAqpXaVBHpjijauAMDA6cdKAPnf4i+HtR/t/4u6b4R02WCa98Mae8cNmnliZw0ocLjA3mNdvHPSt60tvhx8S/Aep+GPCemrbXp0RYfPTTHtzaspBjjZ2QfOsiqdvJGCa9rwM5wM+tNeMNG6KSm4H5l4IJ7/WgDxP9njUNR8eeINQ+IWsW0kEllYQ+H7eOUcrNF814w+suBn0Svbqw/AvhfS/Bvhm30DSPPa2hZ3Mk775ZXdy7u7YGWLMSeK3KACiiigAooooAKKKKACjvRRQAUUUUAFFFFABRRRQAUUUUAFFFFABRRRQAUUUUAFFFFABRRRQAUUUUAFFFFABRRRQAUUUUAFFFFABRRRQAUUUUAFFFFABRRRQAUUUUAFFFFABRRWN4k8R2Oi+XAyyXd/PkW1lAN0sp9cfwr6scAU0gbNS7uLe0t3uLqeKCFBl5JGCqo9yelSRusiB0YMrDKsDkEetcRFot5rNwmoeLGiuCpDQaah3W1ufU5/1r/wC0eB2FJHY6p4YkM3h1TeaZnMmku+NnPJgY/d/3Dwe2KwWJoufJza/gVyTS5rHc0Vm+H9c07XbM3GnzFtjbJYnXbJC/dXU8qfrWlW7TW5NwooopAFFFFABRRRQAUUUUAFFFFABRRRQAUUUUAFFFNkdY42kkYKigszE4AA70AOrNvPEGhWUhjvNa063cdVluUUj8Ca42e5vvGTNcSXFxZ+HiSLe3iYxyXq/89JGHIQ9lGMjk+lXrHRdHsYhFZ6XZQIOgWFf54yaUpwg7PcydR9Dc/wCEs8Lf9DJo/wD4Gx/40f8ACWeFv+hk0f8A8DY/8azPsdn/AM+lv/36X/Cj7HZ/8+lv/wB+l/wqfbQ7MXPI0/8AhLPC3/QyaP8A+Bsf+NH/AAlnhb/oZNH/APA2P/Gsz7HZ/wDPpb/9+l/wo+x2f/Ppb/8Afpf8KPbQ7MOeRp/8JZ4W/wChk0f/AMDY/wDGj/hLPC3/AEMmj/8AgbH/AI1mfY7P/n0t/wDv0v8AhR9js/8An0t/+/S/4Ue2h2Yc8jT/AOEs8Lf9DJo//gbH/jR/wlnhb/oZNH/8DY/8azPsdn/z6W//AH6X/Cj7HZ/8+lv/AN+l/wAKPbQ7MOeR0Gn6vpWoNtsNTsrs4ziGdXP6GrtcJqHh7RL/AAbjTLcSKcpLGvlyIfVXXBB/GpdB1bUNE1W30fWrp76xu28uxv5MeYknUQynuSM7W74weetxlGfw7jVTXU7aiiig1CiiigAooooAKKKKACiiigAooooAKKKKACiiigAooooAKKKKACiiigAooooAKKKKACiiigAooooAKKKKACiiigAooooAKKKKACiiigAooooAKKKKACiiigAooooAKKKKACiiigAooooAKKKKACiiigAooooAKKKKACiiigAooooAKKKKACiiigAoJwM1R1vVtP0Wwe+1K5S3hXgE8lmPRVA5Zj2A5rlJ49X8V5OprNpWiH7tirbbi6X1mYfcX/YHPqe1TOcaceabsgSbdkWtS8TXeqXEmm+E1jlKMUuNTkGbeA9wn/PV/YcDue1S6FolppRlmVpbm+uMG5vJzummI9T2HoowB6VoWtvBa28dtbQxwwxqFSNFCqo9ABUleTiMXKr7q0j/AFudVOio6vcKKKK5DYxtZ0Jbq7XVNOuX03V41CpdxDO9Qc7JF6OvseR2IqxofihmvU0fxDbppuqNkRENmC6A7xOe/wDsH5h79a0aq6rp9lqlk9lqFulxA/VWHQ9iD1BHqORXdh8a4LlnqvxX9djCpRvrHc6CiuJg1DV/Cnyag1xrGhjpcgb7q0Ho4HMiD+8PmHcHrXX2N5a31nFeWVxFcW8q7o5I2DKw9iK9SLUlzRd0c2qdmT0UUUwCiiigAooooAKKKKACiiigAooooAK5b4nsz+GBp6O0f9o3UNmzKcEI7jfj/gIYfjXU1ynxL/49NE/7DNv/ACaqi7O5E/hY9I0jjWONQiKAqqOgA6ClFLRXAZBRRRQAUUUUAFFFFABRRRQAVl+LLNb7w5fwY+cQtJE3dZE+ZGHuGANalQah/wAeFz/1xf8A9BNXTbU00J7G74av/wC1PD2nan3urWOY49WUE1oVznwv/wCSc+Hf+wdB/wCgCujrrluzoWwUUUUhhRRRQAUUUUAFFFFABRRRQAUUVHdXFvaW0lzdTRwQRKXkkkYKqKOpJPAFAElcZ4x8dR6dqDeH/Dtn/bniMpu+yo+2K1U9HuJOka+3LHsO9Yl94o1vxwzWvhCWXSfD5ysuutHia5GeVtUYcA/89WGP7oPWtbw5oWl+HtP+w6TaiGIsZJGLFpJnPV3c8ux7kmgDKsfGPiPwpJt+IAtr3S5SCNa0+ApHasx+5PFyVQZwJBkY+9jrXpNtNDcwR3FvNHNDIoZJI2DKwPQgjgiucZVZSrKGUjBBGQR6GuRi0nWvBc733ghFutMZi9z4fmk2x8nJa2c/6puvyH5D/s9aAPVaKw/B3irR/FVi9xpkzrNC3l3VpOhjuLaTukiHlT+h6gkVuUAFFFFABRRRQAUUUUAFFFFABRRRQAUUUUAFFFFABRRRQAUUUUAFFFFABRRRQAUUUUAFFFFABRRRQAUUUUAFFFFABRRRQAUUUUAFFFFABRRRQAUUUUAFFFFABRRRQAUUUy4mit4XmnkSKJAWd3bCqPUk0APrnfEXidLK6/srSrY6nrDLkW6NhIR/elfoi/qewrMuda1TxOTB4deTT9KyRJqjJiSYdxAp7f8ATQ8egPWtLRdKsNHtDbWMHlqzF5GJLPIx6s7HlifU1z18TCjpu/63/wAi4U3P0KGmaHJ/aA1jXboanqoz5blcQ2wPVYk/h/3jlj69q3KKK8epVlUlzSZ1xgoqyCiiioKCiiigAooooAK5+40a80q8k1TwtJHBLIS9xp8hxbXR9f8Apm/+0OPUGugorWjXnRd4sicFNakfhvxHZ60ZLfy5LPUYP+Piyn4ljPr/ALS+jDINbVctrui2mrCKSRpLe8gyba7gbbNCfVT6eoOQe4qGw8SXmkTx6d4s8tA7BLfVI12wTHsJB/yyf6/Kex7V7NCvCv8ADo+3+RyTg4b7HX0UAggEcg0VqSFFFFABRRRQAUUUUAFFFFABXKfEv/j00T/sM2/8mrq65T4l/wDHpon/AGGbf+TU0RU+FktFFFcJkFIzKqszsqqoyWY4AHqTS14h+1LLcalqXgLwNJqE1ho/iPWPJ1OSJ9hkjXbiMt2BJ/lTSuxpXPX5Nc0WPT59Rk1jT1srf/XXH2lPLj/3mzgfjV2GSOaFJoZFkjdQyOpyGB6EHuK8F+OPwy8F+B/gl401Dwto/wDZclxpsdvMkcrlHUTIQSpJ+b3rG8X/ABi8QaFfaN4M8M3Wj6U1l4ftbq6vdSs57kSu0SlYkSJWI4x8x4qlG+w7XPpaivANR+Lviq++GPhjxHa6l4Z8KX2omdLyPVreeV3eNto8iFFLsDySccZFZifHLxlc/A+z8WWdppL64vidNFmHlMLe4U5+ZVPKZ469PSjkYcrPpKisTwTH4oj8Owr4yuNMuNY3MZn09GSHaT8oAbnIGAT3rbqCQqvqP/IPuf8Ari//AKCasVX1H/kH3P8A1xf/ANBNVD4kJ7Fv4Yf8k58O/wDYOg/9AFdHXOfDD/knPh3/ALB0H/oAro67Z/EzojsgoooqRhRRRQAUUUUAFFFFABRRXD+L/Gl5HrE3hbwjYrf65GiNdTT5W009XGVaVurMRyI15Pcgc0AbXjLxZo/hW0il1KSSS4uG8u0srdPMuLp/7saDk+54A7kVxD6PrPjG6j1HxyqQ2CMHtfD0Um+FCDlXuGH+uf8A2fuD0J5q/wCGvDEGl3kur393Nq+vXC7bjUrkDeVznZGo4jjHZF/HJ5roKAEACgKoAAGAAMACloooAKKKKAOe8SeGItSvY9Z0y8l0bX4F2walbqCxXOfLlU8Sxn+634EHmrvhfx1KNTh8OeMrWLSNakJW2lRibTUMd4XPRvWNvmHbcOa1Kpa5pOm65pkumatZxXlpKPnjkGRnsR3BHYjkUAdnRXllvrevfD2Nv7Ylu9f8KRgn7aRvvdOT/pqOs0Y/vj5wOoPWvTrS4gu7SG6tpVlgmRZI3U5DKRkEfUUAS0UUUAFFFFABRRRQAUUUUAFFFFABRRRQAUUUUAFFFFABRRRQAUUUUAFFFFABRRRQAUUUUAFFFFABRRRQAUUUUAFFFFABRRRQAUUUUAFFFFABRRWR4l8T+HfDVq114g1zTtLhA3Frq4WPj2yeaANeivnnxx+138LdCEsWjNf+IrlMhRaw+XET/vvjj3ANeNav+1L8Y/HUzad8PfCa2JclQ1naveTjP+0RtB/4DQB9peLfE2keGLBbrVbkRmQ7YYgR5kzeij+Z6Dua43w/eWnxBabUL3VtP1CytJ/L/suxuVmghkGCPOdeJHxg4+6PfrXyvB+z7+0F8ULyHUPH2uNZR4JVtTvDI8YPULEmQv04r3H4G/DZfgONT03VNWub6w1WaNo9Q8sLbRuoIw45MbHOMklTgcis6/P7N+z3/H5Dhy83vbHtYAAAUAAcADtS0gIZQykEEZBHQilrwDvCsP4g6ldaP4D1/VrF1S7stNuLiBmUMFdIyykg8HkdK3KwfiJp93q3gDxDpdhF5t3d6ZcQQR5A3O0bBRk8Dk1ULcyuJ7GB8JvGE2qfBHRfGviu+gjkk037Xf3JURooGdzYHA4HaqvgT41+A/GWurouk3WoRXksD3FsLyyeBbqNRlmjLD5hjmvMPDPhv4pa18DZvg/rXgM6DCujtbw6w+qRSK8yMHRWjXJAYjaTk4Gah+FPw98cQeKtDutf8G6tZXehWM0Vnqd94nF3bxS+UVXy4AMhC2OM4Aro9lD3m3+KM+aWh6X4e+PHw/1zxJZ6DbSavb3F/IYrKW702SGK5cfwozDkntV5PjJ4Jf4ey+OBcXv9mRX39nvH9mP2gXG8J5fl9c5IP0rwvRPh/wDGrUvGHg6+8WaPqtw+j67HdX17c69HNA6Bj88NuMCMAemSfSuhm+EfjBvjlLYLYJ/wrqfxEniWWYSrzOsZPlbM5/1h9MVTpUr7/iJTkekeK/jr8PPDPiCfRNSvb9p7Uot7Lb2MksNmzYwsrqMKeeR2qz4u+M3gbw14gh0O6ub+9u5IIrhv7PsnuEhik+47svABBB+hrxPxX8KPH1j4v8Z29v4X1bxJoniO/ku0ax8TLYQlX6pPEQd2On0FanxJ+H/xCHiTTG+H/gyfSNRs7GztIPENrryohjRFDRXELD96FIIBxyAOvSj2VLTX8UHNI+nAQQCOhGRS1HaiZbaJbhleYIokZRgFscke2c1JXGbBUdzBDc28lvcQxzQyKVeN1DKwPYg9akqO5nhtreS4uZo4YY13PI7BVUepJ6U1e+gnbqYEEWr+FTu0lZtU0UH5tPZt09svrCx+8v8AsH8D2rlfG37Snwu8Iawmlarf6g9w0KzHyLNnCg5+VuhVgQcqRkV1UEur+Kzt0tp9K0U/ev2XbPcj0hU/dU/3z+A71j+J/wBn/wCE/iS/W/1jwstxdCMRmUXUqswGeWwwy2Sck8mvoKXtOT978X9b+f8ATOCXLze5t/WxyQ/a7+DR63+sD66c3+NPX9rj4MH/AJimqj66dJWi/wCy18E2/wCZUkX6X83/AMVUT/sqfBVv+Zcul+l/L/8AFVQFdf2tPguf+YzqQ+unSf4U9f2sPgqf+Y9fD66dL/hSN+yd8F2/5gd+v01CT/Gom/ZI+DDf8wrVB9NRegC0v7VnwUP/ADMl0Prp03/xNPX9qj4Jt/zNE4+unz//ABNZrfsh/Bo9LHWV+mot/hSL+yD8Gwcm01th6HUT/hQBsL+1F8E2/wCZtYfWxm/+JqVf2nPgo3/M4oPrZzf/ABFYEn7IHwdZSFt9cjPquoHj8xULfsd/CMnKtr49vtw/+JoA6pf2lvgo3/M7W4+ttN/8RVLVPjN8NPGmp6BofhnxVbahqMmrQukCxSKSqhiT8ygcCubl/Y2+FLfduvEMf0u1P80qKz/Zu8DfDfxT4e8VaFfazLew6pHGqXMyNHh1YHgKD+tNEz+Fnt1FFFcJiFcn8UPAOg/ETw8uj66s8fkyie1urd9k1tKOjo1dZXLfEL4geE/AVnBc+JtUW1Nw223gRGkmmPfai8n69KavfQaOOPwShuvDmtaTrfjzxTrcmq2a2X2i9nD/AGeIOr/InTJKjJPNWfFHwa0/VNT0/WNH8T674b1e00+PT5LzTpFBuoYwAokUjBIx1rofh18SvCfj6W8g8O3dy9zZBWuLe5tXglRWztO1hyDg9K7HB9DT5pId2eVa/wDBez1W08POvjPxNa6xoSSxw6us6vcypKcuHJGPpjoKgtvgToNv4HXwmmuarJbL4gXXfPl2vKZV/gJ7g9z1r0/XNV03QtLn1TWb6DT7G3AM1xcPsSME4GT25IFWbeSO4hjmhYSRyoHjZeQykZBHsRRzMLsfRQetFSSFQX+PsNxnp5L/APoJqeoNQ/5B9z/1xf8A9BNVH4kJ7Hx9pvhT9rSbT4Ljw/q2qrpEiBrFU1SFQsJ+4AC2Rxjipz4X/bNTpqmtH/uJwH+tfYfwu/5Jx4d/7BsH/oArpK7Z/Ezojsj4W/sL9tBP+Yhrp/7frc/1pP7M/bRT/l515v8At6tj/WvuqipGfCht/wBtJP49fP8A21tj/Wkz+2kn8HiA/jan+tfdlFAHwn9q/bSX/lj4gP8A2ztTS/2p+2gn/Lp4gP8A262x/pX3XRQB8KHxB+2dH10/xAf+4fAf6U3/AISz9sqPrpmvH/uEwn/2Wvu2igD4RPjr9sWPrpOun/uCRH/2SvSf2etV+J8nimXVfijDdWtzr2+yijubNbYmS2QSIwUAA5R5Bn/YxX1LXD/G2xaXwQ+tQRs13oFxHq0G37xEJzIo+sZkH40AaVFRWtxDd2sN3bOJIJ41kjYdGVhkH8jUtABRRWN401PVtI8O3F7oehya5qIKpBZJKI97McZZjwqjqT6CgDZory34U/EvX/EfjvXPBPizwxbaNq+lW6XBazvPtELIxGAT2bkfrXqVABRRRQByXxSzeaDbeGYZmiuPEN7FpqlfvCNjumI+kSvXqEEUcEEcEKBI41CIo6AAYArzjRUj1z4xuzR74fDOncMeguro9vcRJ/5Er0qgAooooAKKKKACiiigAooooAKKKKACiiigAooooAKKKKACiiigAooooAKKKKACiiigAooooAKKKKACiiigAooooAKKKKACiivIPH37SPwl8Hzy2lz4h/tO9jJV7bTYzMysDggtwoP1NAHr9Br4r8WftneINUuXsPh/4JVHfiKW8LTyk+ojTj9TXOp4b/at+L8bPqV3qmmaZMeVuphYQEHsI1wzD8DQB9feOfi38OfBcLt4g8W6bbyr/wAu8colmJ9NiZNeD+O/21fDNmGg8G+Gb7VZe0964t4vwUZY/pVDwP8AsT6fGEuPGvi6e6lzue306PYp9vMfJP5CvevA3wP+Fvg3ypNG8H6ebmMcXV0n2ibPrufOD9MUAfKEnxN/ag+LVwYvC2mX+l2L8A6da/Z4gPeaTk/gfwrV8M/se+OvEd62pfETxlFbSSHdII3a8uGPu7EKPzNfbyqqqFVQoHQAcCloA8P8Cfss/CTwyiPdaPLr90OTNqUu8Z9kXCj8jXsmkaVpmj2SWWk6faWFsgwsNtCsaD8FGKuUUAFMnijnheGaNJI3Uq6OMhgeoI70+igDirjQ9T8MsZ/Dqvf6V1fSmb54R3MDH/0WePQjpWjourWOsWn2qwm3qDtkRlKvE3dXU8qR6GukrnvEPhmO+u/7V0u4OmawoAFzGuVmA6JKnR1/UdjXPXwsK2uz/rf/ADLhUcPQt0Vh6Zrki366Pr1qNN1Uj5F3ZhufeJ/4v904YenetyvHqU5U5cslqdcZqSugoooqCgooooAKKKKACiiufn1i91a8k0zwrHHPJG2251CUZtrY9wP+ej/7I4HcitaNGdaVooidRQV2Tat4n0iwun09Lhb3VFZVGn2rCS4LMMjKA/KMc5bAA70un+GrzVriPUfFhjk2EPBpcbbreAg5DOf+Wr+5+Udh3r5M+N3wb+LHw18bXfxU8DeItS1tnkae7uYxi7iz94PGOJI+OwwB1HGa9N/Z8/ao0Hxibfw/458jQtfYiNLgnba3LfU/6tj6Hj0PavYoUI0Vdb9/8jknNzeux9KjgUUisGUMpBBGQR3pa2JCiiigAooooAKKKKACiiigArk/iX/x66J/2Gbf+TV1lcn8S/8Aj10T/sM2/wDJqaIn8LJqKKK4TIDXz54svLLRv2thqHimW1torjw55Xhy6v8A/j1iuR94EngHOc9+fcV9B1keKfDPh7xTp4sPEejWWq2ytuWO5iDhT6jPQ/Sqi7DTPnuX4ieMdW0H4s6Trd14abUNB0JZINU8Oh03F8nAkLZOPwwc1W1NE0P4ReFLzWvG3jrUNY8ZNbTBLfVUtgX8rPliVxthjwwyeSSBXvekfDrwLpGjX+j6X4V0u0sNRj8q9hihwJ0/uuepH41a1jwX4T1jw5a+HNU8P2F5pFoqLbWksW5IQowu3uMDiq5kVzI+RrybVdd+A/xP03U9d1m4tvDmp28likuqrdthjtaOSZRiVOc8YGQD2rovHN9e6Lo3w58F+HPFWtXuharby3V3cpr0cE8swVT5AumBVFXPC/hX0lpHgPwZpGmahpmmeGdMtLHUUCXlvHABHOoGAGXoeKrv8NvAMnhiPwzJ4S0p9HilM0do0AKJIerDuCfXNHOg5kcl+zLJ4oHhnWLLxHqa6jFa6iU0931OO+mjhKg+XLLHwWHvjrXrNZHhXwz4f8K6adN8N6PZ6VZlzI0VtHtVmIxuPqeOta9Q3dksKg1D/jwuf+uL/wDoJqeoNQ/48Ln/AK4v/wCgmnH4kS9iz8Lv+SceHf8AsGwf+gCukrm/hd/yTjw7/wBg2D/0AV0lds/iZ0R2QUUUVIwooooAKKKKACiiigApk8Uc8EkEyB45FKOp6EEYIp9FAHlvwtaa10G58OXQIuPD97Lppz/FEp3Qt+MTJXWVzusRSaN8YhIGAs/Eem9PS6tj/NonH/fuuioAK5T4tXul2XgLUf7b0fVtX0y4C211baZGzzmNzgsApBwO5BzXV0AkdOKAPmv9mbSprL4s+IbrwdouvaV4AnslyusQlZJLoEY2FvmIA3dSf5V9KUEk9STRQAU2WSOGJ5ZWCxopZ2PYAZJp1cp8U3mm8Lf2FaTGK7125i0uFh1USnEjD6Rhz+FAGx8E7e4k8ISeILyPZda/eS6kykcrG5AhX8IlSu5qGytobOygs7dAkMEaxxqOyqMAfkKmoAKKKKACiiigAooooAKKKKACiiigArG8UeILfQI7RprS8u5LufyIYrZAzltrN3IGMKa2a474j/8AIT8Lf9hNv/SeWtKUVKVmRNtRuh//AAm5/wChV8Q/9+Y//i6P+E3P/Qq+If8AvzH/APF0UV0+yh2MueXcP+E3P/Qq+If+/Mf/AMXR/wAJuf8AoVfEP/fmP/4uiij2UOwc8u4f8Juf+hV8Q/8AfmP/AOLo/wCE3P8A0KviH/vzH/8AF0UUeyh2Dnl3D/hNz/0KviH/AL8x/wDxdH/Cbn/oVfEP/fmP/wCLooo9lDsHPLuR3Pj+G1ga4uvDevwQJy8jQR4Qepw/SuyHIrzfxz/yKOp/9cD/ADFejr90fSsa0IxSaLpybbTFooorA1CiiigAooooAKKKKACsDxb4iGkLFZWMIvdYuwRa2oOB7yOf4Yx3P4Dmjxb4iGkLFZ2UIvdXu8i1tQcfV3P8MY7n8BzWVoWkmxaa9vLg3uq3ZDXV0wwW9EUfwovQL+J5pTmqauy6dN1HZbFJNB1iVfNvPGmvfaH+aQW0kccQY9QilCQvpyad/wAI9qH/AEOnif8A8CIv/jdb9Fcn1ur3/I6/q1LsYH/CPah/0Onif/wIi/8AjdeQN+yh8O7rXL/VdU1HXb17u4efy/OSNULHJHC88k+le/UVLxNR7saw9NbI8/8ACnwq0bwhamLwlqV/pDgfK8ccByR03ny9zD2JrvfCPiKTUJZNJ1aFLTWrZcyxKfkmTtLET1U/mp4NPrM1/SI9Uiikjme0v7ZvMtLuMfPC/wDVT0KngitqWJbdqn39jKphla8Nzs6K5zwj4ik1CWTSdWiS01q2XMsSn5Jk7SxE9UP5qeDXR10tWOVMKKKKQBRRRQAUUUUAFFFFAFLW9J0/WrBrHUrVLiFiGAbgqw6MpHKkdiOa5OZtX8J/LqLT6toi/dvQu64th6SqPvqP74GR3Heu5oPPWpnCNSPLNXQJtO6MS1uILq3jubWaOeGRdySRsGVh6gipax9S8M3el3MmpeE2jhZ2L3GmSHFvcEnkr/zzf3HB7jvUmh63aaqZYVSW1voOLizuF2zRH3HcejDIPrXk4jCSpe8tV/W51U6ylo9zUooorkNgqrquo2Wl2T3moXCW8C/xN3PYAdST2A5NUNZ1xba8XS9Ntm1LV5BlLWI4EY/vyt0Rfc8nsDVnQ/C7LeprHiC4XUdUXmIAYgtPaJD3/wBo/MfbpXdh8E5+9PRfi/67mFSslpHczrfT9Y8VYk1FbjR9EOCtqDsubsf9NCP9Wh/uj5j3I6V2FhZ2thZxWdlbxW9vEoWOKNQqqB2AFT0V6kUox5YqyObd3e4V88ftB/sv+GfHouNc8KiHQPEbAu2xcW123+2o+6x/vD8Qa+h6KYHwT8O/jP8AE/4B+IU8E/ErS72/0aJgqRztulhjHG63l6On+yTj0xX2l8PPHXhfx/oEet+FdWhv7ZwN6g4khb+66HlT9ab8RvAfhb4g6BJovirSob63IPluRiSFsfeR+qmvi34hfBz4ofs++IX8a/DfVb2/0WM5eWFcyRJ12XEQ4dP9oDH0oA++KK+ev2fP2nvDPxAEGieJ/I8P+I2wqq74trpv+mbH7rH+6fwJr6FoAKKKKACiiigAooooAK5P4l/8euif9hm3/k1dZXLfFBHXwx/aCRtJ/Z11DeMqjJKI434/4CWP4VUVd2IqfCx9FNjdJI1kjYOjgMrDoQehp1cBkFFFFABRRRQAUUUUAFFFFABUGof8eFz/ANcX/wDQTU9ZXiy8Fj4cvp/4zC0cS93kf5UUe5YgVdNNySQnsa/wu/5Jx4d/7BsH/oArpKz/AA1Yf2V4e07TeP8ARbWOE49VUCtCuyTu2dC2CiiipGFFFFABRRRQAUUUUAFFFFAHB/G+18vwlB4kiDfaPDl5HqalRyY0ysy/QxM/5CtSKSOaJJoWDxuoZGHQqRkH8q6O9toL2zms7qJZYJ42jlRhwysMEH6g15X4ct/iB4f0O10JvBa6munobeK7TWIkE0aEiNtrLkHbtyD3oA7Oiuc/tDx7/wBE5P8A4PIP/iaP7Q8e/wDROT/4PIP/AImgDo6K5z+0PHv/AETk/wDg8g/+Jo/tDx7/ANE5P/g8g/8AiaAOjrmrGNNc+MdrEQXg8Nae1y/90XNzlEH1Eauf+B07+0PHv/ROT/4PIP8A4mtn4XaLqmm2Oqalr1rFa6tq+oSXU0McokEUYASKPeOGwiL07k0AdhRRRQAUUUUAFFFFABRRRQAUUUUAFFFFABXHfEf/AJCfhb/sJt/6Ty12Ncd8R/8AkJ+Fv+wm3/pPLWtD418/yM6vwj6KKK6zEKKKKACiiigAooooAxfHP/Io6n/1wP8AMV6Ov3R9K848c/8AIo6n/wBcD/MV6Ov3R9KxxHwr5/oXS+Ji0UUVym4UUUUAFFFFABWD4t8RLpCxWdnCL3V7vItbUHGfV3P8MY7n8BzW9XnvhFVn1XxHqE37y7Orz23mtywijICID2UZPHvSlJQi5MqEeeSiXtB0k2LTXt7cfbdVu8G6umGN3oij+FF7L+PWtSiivOnNzd2ejGKirIKKKKgoKKKKACiiigDM1/SE1OKKSOZ7S/tm8y0u4x88L/1U9Cp4IrQ8I+In1CSTSdWiS01q1UGaJT8ky9pYieqn81PBp9YHjSNEj0vUEGy7ttTtVhmXhlV5kR1z6MpII712Yaq21Tlt08jkxFJWc1ud/RRRXScoUUUUAFFFFABRRRQAUUUUAFY3iXw5Y60I5maW0v4Afs17bnbLCfQHuvqpyDWzRTTA4dNavNFuU0/xYsUG47YNSjG22n9mz/qn/wBknB7GkjvdU8UO0Ph5mstMyVl1Z05f1Fup+9/vngdga63W2sI9IupdUjikskiZpllUMpUDJyDwa474R+NR4qj1C3nWOGa3mLQxKMYgJ+UY9un5VgsNRUufl1/Arnm1a51fh/RNO0Oza20+ErvbfNK7FpJn7u7Hlj7mtKiit229yUrBRRRSAKKKKAChgGBVgCD1BoooA+Zv2gv2VNB8XfaNf8B+RoWunLva422ty3XoP9Wx9Rx7d68r+Fvx/wDiB8G9eHgb4saXqF7p1uwjDTjN1bJ0DIx4lj9Ofoe1fdtcf8U/ht4R+JWhNpPinS47jaD5Fynyz27H+JH6j6dD3FAGp4J8W+HfGmgw654Z1W31GxlAw8Tcof7rDqrD0NblfAPjH4b/ABa/Zr8SP4r8Falcaj4e3/vJ4kLIUz9y5i6f8CHHoRX0V+z/APtJeE/iVHDpOqNHoXiUgA2kr/urg+sTnr/unn60Ae6UUUUAFFFFABTZEWSNo5FDIwKspGQQe1OooA87mtb7waTbvb3F74eBzbzwqZJbJT/BIo5aMdmGSBwRxmrtprmi3abrfVrGQe065H4E8V29ZeoeHPD+oyGS/wBD026c9WmtUcn8SKUoQm7vcydN9DE/tDT/APoIWf8A3/X/ABo/tDT/APoIWf8A3/X/ABrQ/wCEK8H/APQq6J/4Ax/4Uf8ACFeD/wDoVdE/8AY/8Kn2MO7FySM/+0NP/wCghZ/9/wBf8aP7Q0//AKCFn/3/AF/xrQ/4Qrwf/wBCron/AIAx/wCFH/CFeD/+hV0T/wAAY/8ACj2MO7DkkZ/9oaf/ANBCz/7/AK/40f2hp/8A0ELP/v8Ar/jWh/whXg//AKFXRP8AwBj/AMKP+EK8H/8AQq6J/wCAMf8AhR7GHdhySM/+0NP/AOghZ/8Af9f8aP7Q0/8A6CFn/wB/1/xrQ/4Qrwf/ANCron/gDH/hR/whXg//AKFXRP8AwBj/AMKPYw7sOSRhX/iPQ7MES6nbvJ/DFC3myMfQKuSTUug6RqOt6rb61rVq9lY2reZY2EmPMaTHE0voR/CvbOTzXU6bo+k6YP8AiW6XZWfY+RAqfyFXquMYw+Hcap66hRRRQahRRRQAUUUUAFFFFABRRRQAUUUUAFFFFABRRRQAUUUUAFFFFABRRRQAUUUUAFFFFABRRRQAUUUUAFFFFABXHfEf/kJ+Fv8AsJt/6Ty12Ncd8R/+Qn4W/wCwm3/pPLWtD418/wAjOr8I+iiqmtLcvo18lkSLpraQQkf39p2/riusyOB8TfHD4c+H9buNHutWubu7tTi6FhZyXC257h2UYFd3oGr6dr+i2mtaRdLd2F3GJYJlBAdT355H418vfC7xVceGfgKR4T1Hwpp/ibTbi7l8R2uuAi4nZSSAoyCzHGBnjtW/pHjm6uPGHwZ1rVNQttE03VdKvHu4IZPs9mZMHGVzt64xnuayU+5Tie3fETxfpfgXwy/iDWkuGtFmihIgTc26Rtq8E9MmmaL400nVvHWseDbVLn+0tJt4bi4LJiMpIAV2nPJ5Ga+YfF+uz6/8Kfibctq0upWaeN7ZbKQzmRFi8wYCdgv04rqta0fUtd+LXxfsNGvrux1P/hHrGa0mtpSjiWNUZRkc4OMH60e0dw5T6Zor55+CfjXVvin8StI1VLy7j07w94djXUoldljm1CUlTuXo2ApPtX0NWkXdXJasYnjshfB+qMxAUW5JJOABkV20fiDQWUbdb008drpD/WuA+KFq198OvEFiriNrmwlhDEZCllxn9a+dU/Yj8QBcj4g6fnHaxkH/ALNWWI+FfP8AQql8TPs5dY0lvu6pYt9Lhf8AGpV1Cwb7t9bH6Sr/AI18VP8AsU+Ll/1PxA00/W3lH9ajb9jHx4v+r8e6Wf8AgMwrlNz7dW4t2+7PE30cVIGU9GH518Mt+xz8S1/1fjjSj/20nH9KY37IPxYX/V+NdKP/AG9Tj/2WgD7qyPUUV8J/8Mk/GNP9X400z8L+4H/stH/DKvxxj/1fjWx/DVLgf+y0AfdlefeCv9Z4i/7D13/MV8rD9mP9oCP/AFfja3/DWJx/Svev2ZtB1zwz8ObjQ/El4LzVbTV7pLmYTGXe24c7jyazrP8AdP5GtD+Ij1Ciig9D9K849A8p8L/HTw74k8RR6PpPhzxVOHvjYm8XTibaOQNtJZwcADv7V1fw08c6f48stVutNs7q2XTdTm06QT7cu8eMsME8HNeJfsnab4+ntr6+0nxXp1p4aj8TXX2vTZNPEk02GG7Ev8ORj6YrhE1a+074W6rbLqV3pWiah8R57XWr21Yq8NscZG4fdB9fauh04vRHOqkt2fahB9KMH0NfItjqP/CJ+LvHth8G9evtY0G28JNeEi7a7jtrzcACjHPzbcn8/SqHhiXw7puq/C3V/h/4y1PV/FusX8K69btqDzGSNgDN5sZOECncPwz71PsfMftfI+p/iR4rs/A3gnUfFeoWtxdWtggd4oMb2BYLxnjvWzpd2moaZa38assdzCkyq3UBlBAP518NeOZvD2seBfiJrfivxbqUfjyPWpbW30171kBt1kG2MQ9GTGTnttFfbHg7/kUNF/7B9v8A+i1pTgopFQm5NmrWB46Yrpdjjvq1iP8AyYSt+uf8ef8AILsP+wvY/wDpQlVhv4sRV/4cj0Ciiiu44AooooAKKKKACiiigAooooAKKKKAK+o2drqFnJaXtulxbyD543GQ31rlPhtouhWsVxf6d4eu9Kn894/9LH7wrx05+4e1dk5whJOMDrXNfDe4t7nQZJrbW7zWIzcuPPukKOpGPlwewoA6aiiigAooooAKKKKACiiigAooooAbNHHNE8M0aSRupV0cZDA9QQeor5Y+P/7J+m61JN4k+GbRaPqwPmPpu7ZbzN1zGf8Alm3t936V9U0UAfDvwh/aT8ZfDXWB4H+MWnahPb2zeWbmZD9stR23Z/1qe/XHQmvs7wr4i0TxTokGteHtTttSsJxmOaB9w+h9D6g8iuY+L/wn8G/FHRjY+JNPH2lFItr+EBbi3P8Ast3H+ycivjfXvCfxi/Zd8Strnh68k1Lw1LJ88yIWtpl7LPH/AANj+L8jQB+gdFeN/AT9oTwf8UreKxMi6N4iCjzNOuJB+8PcxN/GPbqPSvZKACiiigAooooAKKKKACiiigAooooAKKKKACiiigAooooAKKKKACiiigAooooAKKKKACiiigAooooAKKKKACiiigAooooAKKKKACiiigAooooAKKKKACiiigAooooAK474j/8AIT8Lf9hNv/SeWuxrjviP/wAhPwt/2E2/9J5a1ofGvn+RnV+EfRRRXWYnJeIfhr4A8Qam2qa14Q0i+vmOXnltxvY+5HX8at634G8H63o9no+reGtMu9Psv+PW3kgGyH/dHauiopcqHdnMD4feCRpV1pK+F9MSwu547i4tlh2xySJjYxA7jAxWna6DpFjrV9r1jptrDq17EsVxchcNKqD5FY+gwK1KKLILnnnwM+Hcnw+0XVUvrmzutU1bUZL67ktIykS7j8qIDzgDP516HRRQlZWBu5i+Of8AkUdT/wCuB/mK9HX7o+leceOf+RR1P/rgf5ivR1+6PpWWI+GPz/Qql8TFooorlNwooooAKKKKACvPvBP+s8Rf9h67/wDQhXoNee2gfw34jvtO1JQtvq1/Ld2N3/A7yYJhb+64xx/eHTnipqpyptI0otKomzoqKKK8w9Ep6PpOl6Pbvb6Tp9rYwvK0zpbxhFZ26sQO59arw+HfD8OnXenRaJp6WV5I0t1bi3Xy5nbqzLjBJ9TWpRTuxWRm6DoGh6Bava6Ho9hpkDnc8drAsasfU4HNQaR4U8MaPqMupaT4d0qxvZs+ZPb2qI7Z68gZrZoouwsjEv8Awh4Uv7+5v77w3pFzd3UZiuJ5bRGeVD1ViRkitmGOOGJIYUWONFCoqjAUDgAU6ii7CyCuf8ef8guw/wCwvY/+lCV0Fc7q5fxBrFtoGmr5hs7y3u7+4/5Z24jcOE93bA+XsDk1vhYt1U+xjiGlTfmehUUUV2nCFFFFABRRRQAUUUUAFFFFABRRRQBn+ItXs9D0mXUdQlMNumAX2FgpPAyBzjNc78MfE1vrVlLatqNne30TM8htLZ4o1Qn5fvDrV3x3q2lQadLo93BNqF1fRMkdhbKHmkU8bsdFA/vEgVjfBDT9L03wvJHaXHm3zTE3qOu2WJuioynlcD8+cU+V2uK6vY76iiikMKKKKACiiigAooooAKKKKACiiigAqK8tre8tZbW7gjuLeVSkkUihldT1BB4IqWigD5G+Pf7JyS3Enin4TSf2ffxt5zaV5hRCw5zA/wDA2einj0IrC+Cv7UWv+ENSHgv4yWV6fszeT/aEkRFzbn0mT+Mf7Q5+tfa1ecfGr4M+DPipphi1yzFvqaLi31O3UCeL0BP8a/7J/DFAHc6DrGl69pMGraLqFvqFjcLuingcOjD6ir1fnzdWHxn/AGV/EpurSQ6l4Ynl5Zdz2VyM9HXrFJjvx9SK+sfgZ8dfBfxVskhsLkadripmfS7lgJAccmM9JF9xz6gUAeq0Vm6/rul6FAs2pXSxGQkRRgFpJT6Ig5Y/QVhp4yvLgb7TwlrLxn7rTNDCSPXaz5/OqUXa5LnFbnXUVyL+LNaBGzwbfN9b23H/ALPTf+Et1z/oS7z/AMD7f/4qjkfdfehe0idhRXH/APCW65/0Jd5/4H2//wAVR/wluuf9CXef+B9v/wDFU+R9196D2kTsKK4//hLdc/6Eu8/8D7f/AOKo/wCEt1z/AKEu8/8AA+3/APiqOR9196D2kTsKK4//AIS3XP8AoS7z/wAD7f8A+KpU8Wa0T83gy9A9r23P/s9Lkfdfeg9pE6+iuRbxv9lYHVfDms2UR6zLGk6J7t5bEge+K6XTNQstTso73T7qK6t5B8skTblNDi0rjUk9izRRRUlBRRRQAUUUUAFFFFABRRRQAUUUUAFFFFABRRRQAUUUUAFFFFABRRRQAUUUUAFFFFABRRRQAUUUUAFFFFABXHfEf/kJ+Fv+wm3/AKTy12NcR8VLq1srvwxcXlxDbQrqjbpJXCqP9Hl6k8VtQ+Nf10M6vwlmisj/AISfw1/0MOk/+Bif40f8JP4a/wChh0n/AMDE/wAa7OV9jC6Neisj/hJ/DX/Qw6T/AOBif40f8JP4a/6GHSf/AAMT/GjlfYLo16KyP+En8Nf9DDpP/gYn+NH/AAk/hr/oYdJ/8DE/xo5X2C6Neisj/hJ/DX/Qw6T/AOBif40f8JP4a/6GHSf/AAMT/GjlfYLoZ45/5FHU/wDrgf5ivR1+6PpXkvjHxF4fuPC+oQwa5pksrxbURLpCzEkYAGeTXrS/dH0rDEpqMb+f6GlJ6sWiiiuQ3CiiigAooooAKp6zpllq+nTafqECz28owynt6EHqCOoI6VcooTsBwNpPe+H9Si0LXZmmilO3TtRfgTjtFIe0o9f4hz1zW9WprOmWWsabNp+oQLNbyjDKeCPQg9iDyCOlcba3F7oGpRaFrkzTRSnbp2ovwJx2ik9JR+TDkc5FYV6KkuaPzR00a1vdkb1FFFcJ2BRRRQAUUVh6heX2qam/h/w/IEuFA+3X2MpZIew7NKR0Xt1PvpSpSqOyIqVFBXYaheX2q6k/h/w/IEnXH26+xuSyU9h2MpHRe3U+/W6BpFjoemR6fp8WyJMsxY5aRj952PUsTyTRoGkWOh6ZHp+nxFIkyWZjl5GP3nY9WYnkmr9eilGC5Y7HnSk5vmkFFFFAgooooAKKKKACiiigAooqjrerafoti17qVwsEIOBnlnY9FUDlmPYDmhK4XLxOASTgVyGoeJbzV7iTTvCQjdUbZcarIu6CH1EY/wCWr/T5R3Paqs0WreLDv1RZtK0U4KaerbZ7kf8ATZh91f8AYH4ntW/awQ2ttHb20McMMahUjRQqqPQAdK5K+MjT92Gr/Bf5/kaQpOWr0RQ0LRbPSVkeNpbi7nwbm8nbdNOf9pvT0AwB2FRazocd5dJqVjcPp2rRgCO8hAywH8Ei9HT2P4EVsUV5ir1FPnT1Ol04uPLbQzdD8USLex6P4kt00/U34hkU/wCj3fvGx6H/AGD831611Fc/qmn2ep2T2V/bx3ED9Ucd+xHoR2I5FZEF9q/hMBLw3OsaEuAJwN91aD/bA/1qD+8PmHfPWvWoYqFbTaX5+n+RyzpuHmjt6KgsLy1v7OK8sriK4t5V3RyRsGVh7Gp66CAooooAKKKKACiiigAooooAKKKKACiiigCtqmn2Oq6fPp+pWcF5ZzoUmgmQOjqexB4NfJfxb/ZY0zRPEdv408Ea9PoOmW9wJry1V2823Gf+XZhzkn5Qp6EjntX17XKfEw7tM0uBuUm1a2Vx2IDFv5qKcbX1Jk7JmP4a0maALqmsSNdazNGBJLIdxhXAxEmegHc/xHJNbtBorjlJyd2YpWCiiipAKKKKACiiigAooooAKwL7PhfUf+Ei09WSzdwNVtU+46E488Ds69SR1XOe1b9VNahW40e+gkAKyW0ikH0KmtaM3GS7Cfc7BWDKGUggjII70tYfw+uZLzwLoV1KSXksIWYnudgrcrpas7HQndBRRRSGFFFFABRRRQAUUUUAFFFFABRRRQAVDe3VtY2kt5eXEVtbQoXlllcKiKOpJPAFY3jTxdpPhW0je+aWe8uDts7C2XzLm6f+7Gnf3JwB3Irim0XWPF13HqXjry1tI332ugQvut4v7rTt/wAtpB6fcU9AetAHceEfFvh3xZbzT6BqkV4IH2SqAVdPQlWAIBHIOMEcjNblec+IvC9vqV3Dq2n3U2j65bKFt9RtQA4Uf8s5F6SR/wCw34YPNWvC/jq4i1KHw542todK1iT5ba6jJ+xagf8Apkx+6/rG3PpuoA7yiiigAooooAKKKKACiiigAooooAKKKKACiiigAqG7tbW7QR3VvDOgOQsqBgD64NTUUAUP7F0b/oE2H/gMn+FH9i6N/wBAmw/8Bk/wq/RTuxWRQ/sXRv8AoE2H/gMn+FH9i6N/0CbD/wABk/wq/RRdhZFD+xdG/wCgTYf+Ayf4Uf2Lo3/QJsP/AAGT/Cr9FF2FkUP7F0b/AKBNh/4DJ/hR/Yujf9Amw/8AAZP8Kv0UczCyKA0XR1YMuk2AIOQRbpx+lX6KKVx2CiiigAooooAKKKKACiiigAqnrOmWWsabNp+oQia3lGGU8EHsQexB5BHQ1cooTsBxsPhnxVbxiCHxZbSRJ8sbXGmb5NvbcwkG4474Gad/wj/i7/oaNN/8FB/+O12FFPTsvuQ7y7v7zyL4wr8SfDXw71XV/DmoQ6xqsUYFvbWujEuSWALf6w8AZPQ9K+adA/ax8aWOpjTvGmk29p5fyzPBYETK3vG7qP1Ffedcx42+H/grxpbtD4o8NabqeRgSSwjzV+jj5h+BqbRvey+5D55W3Z5V4B+KHh3x9CkGkfFXSLW6mG021zpX2a5XP93fKQT6EbhmvbPD+k2OiaXHYafHtiXLFidzSMers38THqTXy/8AEP8AYt8OXqyXXgbxBdaTPnKW17++h+gYfOP1rzc6T+1J8D5d9jJqWraPCOkLG/tSo9UPzJ+Qqr6WSJd3uz74or5A+H37aVoWWy+IHhaa0mVtr3WnHco9d0TnI/An6V9F+Afir8PvHUUZ8M+KdPvJnAP2ZpPLnHsY2w2fwpAdpRRRQAUUUUAFFFFABRTLiaK3heaeRIokUs7uwCqB1JJ6VxtzrWqeJnNv4dd7DSuRJqrJ88w9LdT2/wBs8egPWk2ormk7IOtkafiHxPHZ3f8AZOlW51PWGGRbo2EhB6NK/RF/U9hWfpehyfbl1jXLoalq2PkcriK2HdYU/h/3vvHuavaNpVjo9p9msYdik7pHYlnlbuzseWY+pq9Xl4jGOfuw0X4s6adG2stwooorhNwooooAKBRRQBz9xo15pd5JqnhaSO3mkbdcWEhxbXJzycD/AFb/AO0OvcGtzw54js9ZMlv5ctnqMA/0iyuBiWP39GX0YZBqSszXdFtNWEckjS215Bzb3kDbZoT7HuPVTkHuK9HD45r3auq79f8AgnNUodYHU0Vx+n+JLzSbiPT/ABb5cYdtlvqka7beY9lcf8snPoflPY9q7AcjNel0utjnuFFFFAwooooAKKKKACiiigAooooAK5T4lf8AHpov/YYt/wD2aurrlPiV/wAemi/9hi3/APZqaIn8LJaKKK4TIKKK4H41fEN/AWj6emnaW2r69rF2LPS7ENtEkh6lj2UZH500rgjvqK8T8VeNPjD4T+HfifWvFGheHLa4sbFLixu7GZpYvMMiqYpEY5yAxORxxXaX/wATfCHhvw9od54y8RWGlXWpWUVwsb7iWLKCSFUEhcnr0p8rHZncUVyPiD4meAdA0bT9Z1fxVp9tp+pKWsp9zOs4HUrtBJxkU9/iP4FTwra+KW8T2A0S6uBaw3uW8tpTnCHjKng9cY70rMLM6uisrwr4i0TxVo0es+HtRh1HT5HZEuIgdrMpww5APBFatIQVBqH/AB4XP/XF/wD0E1PUGof8eFz/ANcX/wDQTVQ+JCexa+GH/JOfDv8A2DoP/QBXR1znww/5Jz4d/wCwdB/6AK6Ou2fxM3jsgoooqSgooooAKKKKACiiigAooqnreq6bommT6nq17BZWcC7pJpnCqo/x9upoAuVwXiTx1cXWoz+HfA9vDqeqRHZdXspP2LTz3EjD78npGvPqVrJvdQ8RePyY4De+G/CrcFuYr/UFz27wREd/vkH+Gui0jTdP0jTotO0uzhs7SEYjhiXao/xPqepoAy/DXhi20m6m1S7up9W1y5GLnU7rBlcf3EA4jjHZF4+p5rfoooAKp6zpen6zpsum6rZw3lpKPnilXIOOh9iOoI5FXKKAOTsdU8QeAAI75rzxF4VQACfBlv8AT1/2wOZ4gO4+cDqG616Po+p6frGmwalpV5Be2c67opoXDKw9iKxK5S78Paloeoza54FnhsrqVt93pcxIsr455JA/1Uh/56KOf4gaAPUaK5nwX4003xK01kYptN1m1H+l6Xd4WeHnG4dnQ9nXIP6V01ABRRRQAUUUUAFFFFABRRRQAUUUUAFFFFABRRRQAUUUUAFFFFABRRRQAUUUUAFFFFABRRRQAUUUUAFFFFABRRRQAUUUUAFFFFABRRRQBwnxA+EHw58dRSDxF4VsJrhwf9KhTyZwfXemCfxzXzr4+/YuMM39ofDvxZJbyodyW2o5yp7bZUGR+I/GvsWigD4HTxT+1D8EXaPWbbUNU0iHgtdx/brbaO4lX5lH1I+len/Dz9s/wnqIitvGuh3miXB4e4tf38GfXH3wPwNfVDKrKVZQykYIIyDXl/xE+APws8cK8mpeGYLO8bJ+16f/AKPLn1O3hvxBoA6/wb448IeMrX7R4X8Rabqq4yVt5wXUf7S/eH4iuir4o8Y/sdeKtCvzqvw08YeY8Z3RRXLm2uEPoJU4P4hawLX4x/tHfB51s/G2j3Wo2EbYDarblwR6LcJ1/EmgD72rK8R6/p+h26Pdu7zynbb20K75p2/uoo5P16Dua8W+GP7RsPxF0SZ9L8NXGkXkMkcE93eyB7G3dwcFpFwT0OFIGfWvUdE0OGxuJNQuLiTUNUnH729mwWI/uoBwieij9ayr1o0Ypy67DhFzdkVDpmpeIplu/FG2O0Vt0GkRtujX0Mx/5aN7fdHv1roQAoCqAABgAdqWivGrVp1XeR2QgoLQKKKKyLCiivEP2soPFkml+HrjS4dduvDMF4z+ILfRJTHePFgbSpHO0fNnHtmrpw55ctxSdlc9uYhfvEL9TigMpJAYEjqAelfLGs6v4Ab4LeHJvDd7rfiXTW8YWqeXqmoSLc2UzH7jEc4GMhTwc9ap+Jde8VeH7z4/ar4VkEd3bahamS4MxR7aLYd0kfqwOBj3NbLDt9f6uR7Q+tKK4f4Hap4t1n4b6XqPjK0tIL+aCNont5/N8+IxqVlc9nbJyK7iueSs7Fp3QUUUUhkd1BBdW8ltcwxzQyKVeORQysD2IPWsCGPV/Ch3aYs2q6KDlrFm3XFsP+mLH76j+4efQ9q6Oit6GInRem3YznSU/Us6Lq2n6zYre6bdJcQklSRwUYdVYHlWHcHmrtcXreki2nm1/Sb6LSNQRC00z/8AHvOo7TL0I/2uGHr2r5/+L37WHiDwV4rj0e08G2E8RtY5jJcTyDzC2fmQgcxnGQcDNezSqRqx54HG04vlkfWlFfDqftv+JP4/Amkn6Xkg/pU6ftwa1/H4B08/S/f/AOJqwPtuivipP24dQ/j+H9qfpqLf/EVMn7cUv8fw8Q/TU/8A7XQB9n0V8bp+3HF/H8OXP01Uf/GqlX9uOx/i+HFx+Grr/wDGqAPsOivj9f24tM/i+Hd4Ppqq/wDxupF/bh0X+L4fagPpqSH/ANkoA+vK5T4lf8emif8AYZt/5NXzkv7cHh/+LwDqg+l9Gf8A2Wrvh79p7RPif4x8OeErPwtqGnTz6nHKJpbhHUBFYkYAzTRM/hZ9C0UUVwmIV5F+0d4c8TXk3hLxn4T07+1dQ8Lan9rewBw88TY3bfUjb0969do6GmnZjTseB/E3xT4m+I3wi8XaVZfDbxJpSf2ehja+jAknm81P3ccY5bAyc+1cZ498JeK9K8e6f4kl0rxPc6beeGrSxD6NZ29zNbSJGFeJ0mRgoJycjHXr1r6vyc9aKpTt0HzHy1faX4t8LeAfA2meH/DPidNFH2tr1v7OtrrVbVnfKJh1KRq3XgdPpWJYeB/FTfAJdFvfDGqm6fx/HcyWk9uDIbc/edlUbdvPJA2+nFfYGTS8+9HOPmILS1tbO3W3s7eG2gT7scSBFH0A4qaiioICoL/mxuB/0xf/ANBNT1BqP/IPuf8Ari//AKCaqPxIT2Pmvw9+2L4b8OaJZ+H5vBurTyadCtq8qXUYDlBtJAI6HFaA/be8Kd/BGtD/ALeYq9h+H3w0+Ht/4E0O8vfBegz3E1hFJLLJZIWdioJJOOSTW03wj+GDfe8B+Hj/ANuKf4V2z+JnRHZHgy/tu+EP4vBeuD/tvF/jUi/tt+Cz97wfro/7axf417i3wd+FjdfAPh7/AMAk/wAKjb4L/CdvvfD/AMP/APgGtSM8WX9tjwN/F4U18f8AAov8aev7a3gLv4Y8QD/v1/8AFV7E3wR+Ebdfh74f/wDAQVGfgX8Hz1+Hfh//AMBhQB5Kv7anw9/i8O+IR/wGP/4qnr+2l8OT10HxCP8AtnH/APFV6qfgR8Hj/wA070H/AMB//r0xvgH8G26/D3RPwjI/rQB5iv7aHw176N4iH/bGP/4upF/bO+GB+9pfiIf9u8f/AMXXor/s9/Blv+af6UPpvH/s1Qv+zp8F2/5kPTx9HkH/ALNQBwi/tl/Cs9bDxEP+3VP/AIupPht8QvC/xm+JGqahGupXVlpsEMukWt/GEhiccTOIwSGkDFDuOSAwxiuxf9mz4Kt/zI9qPpPKP/Zqq6z4B8M/C2LQNX8G6OmnWMGreVqKK7NmK6CwliWJOFcRH04NAHoFFFFABRRTJpYoYXmmkSKJFLO7sFVQOpJPQUAPorK8NeI9B8S2k154f1a01S3hlMMkttIHVXABK5HfkVq0AFFFFAHFfGK0tF8JXGtpHMmt2KgaTdWrbLiO4dgsaqw6hmIBU5BGcivU9NS6j062jvpVmulhQTyKuA7gDcQO2TmvOdehl1r4heFtAjYfZrWSTWb4eqw/LCv4yuD/AMAr06gAooooAKKKKACiiigAooooAKKKKACiiigAooooAKKKKACiiigAooooAKKKKACiiigAooooAKKKKACiiigAooooAKKKKACiiigAooooAKKKKACiiigAqK7t7e7t3t7qCKeFxh45UDKw9CDwalooAw9B8H+FtAtL600Xw/p1hbahIZbuGCBVSZiMZZenQVjXOj6p4XJn0FJdS0gEs+mM2ZYB6wMeo/6Zn8D2rtaKUoxkuWSug2d0c5o+qWOr2f2rT5xLGGKuMENGw6qynlWHoau1S8QeGFurw6vo1wNM1gDBmVcx3A7LMn8Y9+o7GqOla4z3w0jWbX+zNWx8sLNmO4A6tC/8Y9uo7ivKxGDdP3oar8V/Xc6ada+ktzboooriNwriviT4d8bavdafqHgnxuPDl1aq6Swz2YuLe5VsYLKejLjgj1rtaKcZOLuJq54QP2fpI/BkWlL4nFxq0/iWHX9Tvprbas8iE5REU/KOeK3Z/g6bx/ifHe60ot/HBQx+VCd9ptXAzk4bnB7cV61RWnt59yeRHI/CTw74i8KeC7XQvEniCDW7i0AignhtfJVIVUKiY7kAdT6111FFZt3dykrBRRRSGFZuu61Z6QkazeZNdTkrbWkC7pp29FX+ZPA7mqN1rV3qV5LpXheGO7uYyVuL2TP2a0PoSPvv/sD8SK2/Dfhuz0eSS7eSS+1Ocfv76fBkf/ZHZF9FHFejh8C371XRduv/AADnqV+kTLsPDd7rE8eoeLPLMaNvt9KjbdDH6GU/8tX/APHR2B610lzpmm3Lh7nT7SZwAu6SFWOPTkVbor0lZJJbHOZraBoLfe0XTT9bVP8ACmHw14cb72gaUfrZx/4Vq0UAY7eFfC7fe8N6OfrYx/8AxNRt4O8It97wtoh+thF/8TW5RQBz7eCPBjfe8JaCfrp8X/xNRnwD4Gbr4N8Pn/uHRf8AxNdJRQBzDfDvwC33vBfh4/8AcOi/+JqNvhr8PW+94H8On/uHRf8AxNdXRQByDfC/4cN97wL4cP8A3Dov8K5/xd4D8FaDPoWpaL4U0bTr1dXgVZ7azSNwCGyAQM816fXJ/Ev/AI9NE/7DNv8AyamtyZ/CyavNf2jvGmreCfh19r0Dy11jUL2HT7OSRcrE8h5fHsBx716VXFfGnwHH8RfAs/h/7abC7WZLmyugu7yZkOVJHp1Brija+pktzjpPAvjHwj4Y1rWbr4n67rX/ABI7w31reAFDN5LFXhI5j2t+lc38B/jFcW/hnwH4c8Q+G9eSLVl+xW2vXThormcE8DJ3EdBuNddp/h341appl9pXi7xD4XNjJpdxaBbK3fzLqR4iiPIzD5QCQTt61Qg+E3iCPwh8KtIN5p5n8Iaglzfne22RRniPjk898VenUq6L/jL4z3nhPWZU1j4d+IINCivVs21dnjEZLNtDhM5Kk9KTxl8bDofjDXPDGm+Btb1+60e2ju5pLNl2CFk3M7E/dwMcc5rzrxd+z7471jVtYZtS8M38d3qv2+HUr1Zjfqm8MIQ3KooHYV6nY/D3WIPiL478RNdWn2XxDosNhaoGO9JEj2kvxgDPpmi0QtExvD37QOm6vq3hxW8H6/Y6L4huBaWWrXKqInuD1QAEkgHjd+NcV4b+Kus+DfF3xRlufDXiLxLp1lrrSTTwSgw6fAMjHzHj/dHpXVW/wf8AEUfw8+GXh1r3TvtPhXWUvr1t7bJEDMSE45PPfFZ2s/Cf4ppd+O7fw74g8O22leMdQkkuUuInaWGFuNysBjcQWBH60/dDQ63xJ8bNNtrnSLHwr4d1PxXf6npq6otvZsqeTbN0Zy3frx7VT1H4/aLF4Z8K65p3h3VtT/4SOee1htINvnxXEWAYyvcliBkH3rm/GH7P97Hqehal4VXw7qh0/RotKuLTxBAzxSeX92VSvIbrW5a/CfXI3+G8oTw7Yt4b1O4vdQg06JoYGEmMCJcHJ45zilaIWieteGr+71TQbPUL/SrjSbqeIPLZTsDJA391iOCas6j/AMg+5/64v/6CanFQaj/yD7n/AK4v/wCgmph8SM3sWvhd/wAk48O/9g2D/wBAFdJXN/C7/knHh3/sGwf+gCukrtn8TOiOyCiiipGFFFFABRRRQAUUUUAFY/jXRI/EnhHVdCkbaL61eFX/ALjEfK31BwfwrYooA888A6tJrXg7TNQuCPtRh8q6A/hnjJSQf99q1btcr4fjj0P4h+KPDSgpFcSJrVop6bZsrKB9JUJP++K6qgAqlrmj6Zr+mS6RrFnHe2NwVE0EmdsgDAgHHUZA471drL8V6FZ+JfD93oeoS3cVtdKFke1mMUoAIPyuOR0oA8h/Y6hit/CvjCCCNIoo/FV2iIgwFACgADsK9yrz34a/B/wh8PdZm1Xw7JrCzTRvHIlzftLG24glip43fKOetehUAFFFYvjnWf8AhH/CGqawqGSW3t2MEY6ySn5Y1HuWKigBnwphTVPEfinxdv8AMSe7XS7M9hBbZDEfWVpP++RXodYXw/0NfDfgvSdEUfPa2yrKf70pGXb8WLH8a3aACiiigAooooAKKKKACiiigAooooAKKKKACiiigAooooAKKKKACiiigAooooAKKKKACiiigAooooAKKKKACiiigAooooAKKKKACiiigAooooAKKKKACiiigAooooAKoa7o+na3Ymz1K3WaPO5Gzh427MrDlWHqKv0U07A1c4aWfVvCreXrLS6lo2cJqSpmW3HpOo6j/poB9QOtdBBLFPAk8EiSxSKGR0YFWB6EEda2GAZSrAEHgg965C+8N3uizSX/AIT2eU7b7jSZG2wyepiP/LJ/b7p9B1rir4ONT3oaP8P+B+RpCq46PVG1RWboWtWerxyCDzIbmAhbm1mXZNA3oy/yPQ9jWlXlSjKD5ZKzOtNNXQUUUVIwoorI1rXYrG5j0+1t5NR1WYZisoCN2P77noif7R/DNXTpyqS5Yq7JlJRV2X9SvrPTbKS8v7mO3t4x80jnAHt7n2rGgtNX8WfNcLc6NoR/5Z/cu7se/eJD6fePtV7RvDE0l7FrHiaeO/1BOYIEB+zWn+4p+83+2efTFdTXr0MLCjq9ZfgvT/M5J1JT8kV9NsbPTbKKysLaK2tohhI41woFWKKK6SAooooAKKKKACiiigAooooAKKKKACuT+Jf/AB6aJ/2Gbf8Ak1dZXKfE/EejWF452xWuqW0sjHoq79pJ9vmpx3In8LJaKO9FcJkFFFFABRRRQAUUUUAFFFFABVfUf+Qfc/8AXF//AEE1Yqjr9wlroV/cyHCxW0jH8FNVD4kJ7Gh8Lv8AknHh3/sGwf8AoArpKxfAlnJp/gvRbGUESQWMKMD2IQZrartl8TOiOyCiiipGFFFFABRRRQAUUUUAFFFFAHnvxVRtL8R+FvFSRjy4rttLvW9IbnAVj7CVY/8Avo1uVZ+IGht4l8FatoccgimurZlgk/55yjmNvwYKfwrnPBWtDXPCemarKyJPcW6mdNw+SUfLIv4MGFAG1RTfMj/56J/30KPMj/56J/30KAHUU3zI/wDnon/fQo8yP/non/fQoAdXLeKI5NY8a+FfDUY3Qm6bVb3uPKt8FAfrK0f/AHya6fzI/wDnon/fQrE+GUS6t4z8U+KfMEkSSpo9kR0CQfNKR9ZXYf8AAKAPQ6KKKACiiigAooooAKKKKACiiigAooooAKKKKACiiigAooooAKKKKACiiigAooooAKKKKACiiigAooooAKKKKACiiigAooooAKKKKACiiigAooooAKKKKACiiigAooooAKKKKACiiigDD8SeG7TWJI7yOWSw1OAfuL6DiRf9luzp6qePpWNaa1d6fex6T4ohjtLqQhbe7jz9muz6KT9x/wDYb8Ca7Wq+pWNnqVlJZX9tFc28ow8ci5BrOrShVVp/eOMnB3iUaRiFUsxAAGST0Arnri11rwmC1ul3rmiDAES/PeWo9s/61Pr8w96fbaJqfiZluPEaPY6Xw0elK/zy+9ww6/7g49c1wRy+fNZvTv8A8A3eIVttRi6lqXiOZrXwwRFZg7ZtXkTMY55WFT/rG/2vuj36V0nhzQdP0K2aKzR3llO6e5mbfNO3952PJ/kO1aMMUUMKQwxpHGgCoiLhVA6AAdKfXowhGnHlgtDnbcneQUUUVQBRRRQAUUUUAFFFFABRRRQAUUUUAFFFFABVTWNPtdW0u5029jElvcxmORfY/wBat0U07aged6bqE+k3SeH/ABFIIr1Pktbp+I75B0ZT034+8vXPI4rerd1LT7HUrRrTULSC6gbrHKgZT+Brmn+H2iBj9ku9bsU/5522pzKg+g3HFRKlCTvexi4SWxY5o5qt/wAK/wBP/wCg74m/8G0v+NH/AAr/AE//AKD3if8A8G0v+NT7CP8AN+AuWXYs80c1W/4V/p//AEHvE/8A4Npf8aP+Ff6f/wBB7xP/AODaX/Gj2Ef5vwDll2LPNHNVv+Ff6f8A9B7xP/4Npf8AGj/hX+n/APQe8T/+DaX/ABo9hH+b8A5ZdizzRzVb/hX+n/8AQe8T/wDg2l/xo/4V/p//AEHvE/8A4Npf8aPYR/m/AOWXYsOyohd2CqBkknAArBgU+NL+K0swW0CCUSXl2OEumU5EMf8AeXIBZunGOcmtq28AeHkkEl4t/qhHRb+9knT/AL5Y7T+IrqYY44YlihjSONRhVUYCj0A7VcIRg7p3Y1Tb3HUUUUzYKKKKACiiigAooooAKKKKACiiigArlrr4c+A7q5lubjwfoks0zmSR2s0JdicknjqTXU0UAcl/wrP4e/8AQl6F/wCASf4Uf8Kz+Hv/AEJehf8AgEn+FdbRQByX/Cs/h7/0Jehf+ASf4Uf8Kz+Hv/Ql6F/4BJ/hXW0UAcl/wrP4e/8AQl6F/wCASf4V0OjaXpui6dHp2k2NtY2cWfLgt4wiLk5OAOOSSa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B//Z">
            <a:extLst>
              <a:ext uri="{FF2B5EF4-FFF2-40B4-BE49-F238E27FC236}">
                <a16:creationId xmlns:a16="http://schemas.microsoft.com/office/drawing/2014/main" id="{D0936C4F-CC47-449E-BACA-6842E0C4876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5754042"/>
      </p:ext>
    </p:extLst>
  </p:cSld>
  <p:clrMapOvr>
    <a:masterClrMapping/>
  </p:clrMapOvr>
  <p:transition spd="slow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2D32590-9556-4431-BF5A-5F38BDC49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65126"/>
            <a:ext cx="11090275" cy="942382"/>
          </a:xfrm>
        </p:spPr>
        <p:txBody>
          <a:bodyPr/>
          <a:lstStyle/>
          <a:p>
            <a:r>
              <a:rPr lang="en-GB" dirty="0"/>
              <a:t>Any questions?</a:t>
            </a:r>
          </a:p>
        </p:txBody>
      </p:sp>
      <p:sp>
        <p:nvSpPr>
          <p:cNvPr id="2" name="AutoShape 6" descr="data:image/jpg;base64,%20/9j/4AAQSkZJRgABAQEAYABgAAD/2wBDAAUDBAQEAwUEBAQFBQUGBwwIBwcHBw8LCwkMEQ8SEhEPERETFhwXExQaFRERGCEYGh0dHx8fExciJCIeJBweHx7/2wBDAQUFBQcGBw4ICA4eFBEUHh4eHh4eHh4eHh4eHh4eHh4eHh4eHh4eHh4eHh4eHh4eHh4eHh4eHh4eHh4eHh4eHh7/wAARCAFKA0Q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82+MXxUh+HuqaLZf2RLqQvH86/dJNosbMOkbTtxzhpFGPrzQB6TRWbruv6HoVil9rWr2OnWrkKkt1OsasT0AJPNV9U8XeFtLs7S81LxFpVpbXoBtZZrtEWYHuhJ+YfSgDaorJ13xN4c0FYG1rXdN00XB/c/arlI/M/3dx5rB8WfFDwd4X8U6N4e1jVra3n1aKSaKVpkWKJFXIZyWGA3RSAckGgDtKKRSGUMpBBGQR3paACiiigAooooAKKKKACiiigAorn/AIj+Iz4Q8B614nFp9rOmWj3Ag37fM2jpnnFZfgzxB4vvLc6l4u0PRNE0o2q3CXEOqGUjIBwwZFCjB65oA7SiueTxdoup+H9T1LwzrGkau1jC7ny75PKVwpIEjjOwcdT0HNY+meN7ufxfoWh3drYRxaj4ffVp54bnzUjZWjG1H6MmHJ3ewoA7mis4a9opsbG+GrWJtb90js5vPXZcO33VQ5wxPYDrULeJ/Da6tHpDa9pg1GSVoUtTdJ5rSKASoXOcgEHHvQBr0VkWHijw3f6zNo1jr+mXOpQ5821iukaVMdcqDnirup6lp2lxRy6lfW1nHJIIkeeUIGc5IUE9+Dx7UAWqK5z/AITzwT/Zf9qf8JdoX2HzvI+0fb4/L8z+5uzjPtWlrOvaJo2mDU9X1ewsLE4xcXFwscZz0wxODmgDRorOt9d0W40Q65b6vYS6WELm8S4UwhR1O/OMfjXL6F8Q7HXfiWPDei3Gnajph0X+0Rf2twJMuJvLKfLxjHPrQB3NFZGl+KPDeq6pPpema/pl7fW+fOt4LpHkTHXKg5rXoAKKKKACiiigAoorz7xp408T2PxDtPBvhbw7p+qXU2ltqUkt5fm3VEEvl7RhGyc0Aeg0Vzcni3TdF02xPjTVNF0HUrhAXt5L9dobPRWbaWHvgVJqWvXNv4r0rS7dNNls720nuGke9Cz/ACBSvlxYzIp3csDxx60AdBRXHfDLxvB4o8G6Dq+pNZ6ff6wsxgtBNy5jdgwQHlsBcn0rem8QaFCt60usWEa2EqxXha4UC3dsbVfn5SdwwD6igDTorDPjDwmNJn1c+JNI/s+CYwS3X2xPKSQdULZxu9utaelajYarYRX+mXtve2kozHNBIHRh7EcGgCzRXnWreP8AXb3xdqXhvwJ4Xh12XR9q6pd3V8LWCGVl3CFTtYu+0gnjAyMmuh/4TDTdM0Gxv/GNxY+F7q5X57W+vYwUfPKhs4b6j1oA6SiqQ1bSy9ig1G0LagCbMCZT9owu47OfmwvPHamSa5o0a6g0mrWSLppAvi06gWxKhh5nPy8EHnsaANCisiw8T+G7/RZdbs9e0240yIkSXcdyhhQjrls4FT6Drmja/ZG90PVbLUrYMVMtrOsihvQlT1oA0KKKKACiiigAooooAKKKhv5/stjcXW3d5MTSbc9cDOKAJqK88+BPxLHxL8Ly6lc6V/Y9/A0ZlszN5mIpY1kikBwMhkb06gjtVT4b/FmDxp8QPE3h6HSvsunaPGJbfUXmBW7QSPG7hcfKoeN8HPOKAPTqKxtF8U+HNdluYdD17S9Tnth+9jtrpJCn+9tJwPes/QPGNjJ4X0/VfEmoaHpc94krqsepJLCwQnJSQ4DYABOOlAHU0VxnjH4neDvDPgSTxnNq9rfaUHEcT2c8cnnuWxtQ7gCRySM9Aa1v+Ey8Jjw/H4gbxHpSaVI21LxrtBEzdMBs4Jz2oA3aKzT4g0IabbakdZ08WV0wW3uPtCeXKSCQFbOCcA/kabo3iTw/rVhNqGka3p1/aQErNPb3KOkZHUMQcD8aANSisfQ/FPhrXRc/2Lr+maj9l/1/2a6STyv97B4pmneL/Cmo6lDpun+JNIur2aITRW8N5G8joRncFByRigDborJvfE/hyx1qHRLzXtMt9Tnx5VpLdIsz56YQnJpL7xR4bsdZh0W91/TLbUpseXaS3SLK+emFJzzQBr0VmeKJ9cttIeXw7p9nqGoBl2QXVyYIyM8kuFbHHtXnngH4ieMtfvdSm1bwzoOkaPpGpTafqV42sEmJ4lBZlBjAK/MvJI70AerUVlaH4l8Pa5ZzXmja5p2oW0BImltrlJFjOM/MQeOPWuX8c/ErSNM+Hes+KfC9/pevPpjQo8cN0HQM8qJhihOOGJ/CgDvaKpQarps2pyaVHfWzajFCs8tqsoMsaNwGK9QCehq7QAUUUUAFFFFABRRRQAUVwXxf8W+LPBmiXviDSPDmm6rpOn2T3V28+oNBKNmSVVQjA8D1FO8O+N7230VdW+ISeHvC9tcpG9k39rB/NDLk53qmCMjpnrQB3dFZV/4k8P6fosetX2uadbaZKAY7uS5RYnB6YYnBz7Vi3njOP/hNfC2j6b9kvdP122u7gXkcu4AQqhXaRwQdx/KgDr6Kp6Rqmm6vaG70q/tr63DtH5tvKHTcpwwyOMg8GvPPAvjvxx4uvZ7qw8JaTHoUGqz2ElzJqrCfbDIUZxH5eM8ZA3UAen0Vj2/inw1casukwa/pcuoO0irapdIZS0f+sG3Ocrg59MUuj+KPDes309hpOvaZf3dv/robe6SR4+3IByKANeisOXxj4Tj1K402TxNo6XtsVE9ubyMSRliAAy5yMkgfUitBNU02S4vbdL+2aaxCm7jEoLQAruG8fw5HPPagC5RWRfeJ/DljokOt3mvabb6ZOqtDdyXKLFIG5BVicHPtUj+INBTTrbUm1nT1srpgtvcG5QRysQSArZwTgH8jQBp0Vm6F4g0PXrKS90TWLDUraNikktrcLIiMOoJU8GqVp428H3cM81r4p0WeO3lSGZo72NhHI7bVViDwSxwPU0Ab9FVZtS0+HU4NMlvbdL64RpIbdpAJJFXG5lXqQMjJ96tUAFFFFABRRRQAUUUUAFFFFABRRRQAV4FNovi74heKviDqlha6E2jXkTeGbf8AtUTK/kxKfNeMKPutK7HPcoPSvfaAABwAKAPmNtUju/Afg7VfEuvyaD4y8MC803fe6W95aXMsWIpEkUL1dVQqwIY5OM1a8Y62E0/w347nSHw94vPh3YPD15o8lzaXsbPv+zphcxyFlGMHcAwyMV9I7F/ur1z070FVJGQDjpx0oA+ZvF51KL4rajrHirWovCNpq+hWK2IvNDXUIlHlnz7YORiNhISSv8WQe1XbnT9E8FyfCDVLy8uNT8O6dBfWkmpz6c+797HmEPHtLIMgqoI44r6MZVYYZQR7ilIDDBAI96AERlZFZfukZHHaloooAKKKKACiiigAooooAKKKKAOC/aHjkm+B/jGKKN5HbSpgqopLE47AVzWuaRc+C/g5fa3ZTa14mnOm24NhrE73tvGCU3P5OMnYCWwOSFxXsRAIwRkUUAfLnhiWXUPF3j+6t9ZGv283gV41vbbRTYQyOGk+RVAxIRnGeTzjtXV+E7C6uPEHge3WCRWf4cyQZZCArnyAAfQ+1e7hVAwFAGMdKAo44HHA4oA+WtI8QWV74F+E/g2C11M61ofiCxj1SBrCVRZmMuh8xiu0ZJGME5HNeheDPDaz6n8W9SsdNiTxBc6tPDZXkkeJARaR+VtYjgBmPI7k17HtXJ+UcnPSlAAzgAZ60AfLHwk0mwvJPAml6l42a11jRLmOU6MnhnyLqK4VGWRJJgMlTlsuThuDXrH7Q+l2+s6b4P0+8she2kviywFxCyFlZPnzuH931zxXp21dxbaMnqcc0EA4yM80AeIWHg/QJfjv8QWl8N2TQHw9ZrGGtB5eXWUPtGNuSFUHHPArkPCVxb6Tpnwi8ReOrO4m8O2nh65tRLNaPNHZ3paMRPIoBK/uldQxHH419P4Gc4GaQqpXaVG30xxQB8uapp32rwv4p8Rafot4fAV34x0/UDYpaOn2iyjCi6lWDAby2kAbGPmCk45rXBsPEnxN8Xaj8NtPkt/t/gWe2tL6Kza2iubsOQpQsBkrlRux274r6N7Y7UgVVxhQPoKAPmT4RabpOoax4Ghk8bFNS0Mhk0eLwz9kuIXERWSKaQDheuSeGIB5r6cpAqhiwUAnqcUtABRRRQAUUUUAFePeM/Dr+IP2jdPjbUdb0yKPwrIftGm3LQMW+1D5S4HI74r2GjAznAz60AfPfxf1CbS/Edz4Xn1CPS7aLQUFvqV5oh1S81hmMgaAORjK4GR1JfPSovhpb3n9qfBhpoLgNF4NvUkLo2UbZAAGz0PHQ19EEAkEgEjp7UBV4+UcdOOlAHzL4YlXw34S+DfizWIbqDStLn1GC+mFu7m2MwkWNnVQSFJGM47iqOrvH4l8G/GW9t7C+ax1PX9OaFZrV4nmixApYKQGwQDz6V9UbV27dox6Y4oKqc/KOevFAHgvx20RtE8XeB76wmg8O+GLBLqKW5j0hby3tbhkQRM8OMDKqyiQj5fbNdd+z5penWGi63eaX4mfX4dR1R7l5V042cKSFFDCKPGNpwCSOCc+9emkAjBAI9KAABgAAUAeH+FPEWnfC7x7450zxp9qsLfWdYbV9Mv/ALLJLDcxyRopTcinDqykbTz0xVb4l+NUv/E+iPF5Ph3Sr/SJJ4dY1Dw493cTt5m37IsbD5CR8+Dy2RgV7wyqw+ZQfqKCAcZAODkZoA+Z/CFwfDXw9+DHibW4b2HTdIur6K+l+yOWthLHNHGzoASi5wOnGRUkT6B4os/ivf6tPq+kaPf69p81tff2dIWQpBCY5miKktFuQE7hgg84r6UKqV2lQR6Yo2jngc9eOtAHy74p1HxN4q+GlrdNHB/ZejeLoDc6tp+jMYb60RM/ajaN99VdgGHIO3I4FeifAmx0ybxV4i8Raf42XxHLeW9tDcrb6P8AYbdShfY3A2u+CQSOQMZ7V6+AAMAAD0pFVVGFUAegFAC0UUUAFFFFABRRRQAVT10E6HfgAkm2kwB/umrlFAHylbL4m8F+BPAGv+FtMupr7xT4UtfDlwiIf9Hu/LBtrhx22hpAc+1dTZ6PL4H8Z+L7HR9BOsR6V8P7OG3tGiJS9kR59yHj5ixySOp3e9fQe1cAYGB0pcDOcDPrQB80/C7UJNW+M/hy+i1qDVV/4R+9WcWWgGwgs2PkkQbsfOQQflPK496b4N0ODUtK+BtpqulfabeG41OWSKeElUYK5QsCMdcEZ719LhVHRQPwoCrx8o46cdKAPm3x5oL/APCEfGvTtM0ljCmqW13BbQ25Iz5MDytGoHU4Ynb71J8TNRtNV8V+BvF+ka0uleE47G7gTUm0Q3VvbXRKffiYDYWUMocjsRnmvo/A54HPWk2rt27Rt9McUAfOD+F9Hn8BeHbKHUz4p0vU/H0N3Of7NNrAAwO9EixgR7hnj5SWNa/iGKTwz49+KV5ofhaHUE/4RmxnXThbfuLqQGZTlFGGwoGQOSBiveNq4AwMDpx0pcDOcDPrQB80fDi8k1L4vi8g1yLW4T4Ru45JrPQjYW8T+ZERCDj94Rz15X8TU/hbwzp2n/Bz4RX1nokdtqKa/YTSzJb7ZgZGcSFmxuwQcHPGMV9HhVHRQPwo2rgDaMDpxQB4H4Vv/CGi+KvGOh+PNFkuvEWo+JXuLYSaW9w15AxT7M0TBSNqAeo24J4ri9V0eObU/HHhrxh4z/4R+41TXbmYQSeG/tM9zAzg28kNwAWbCBAMfcK4r6w2rkNtGR0OKCqkhioJHQ46UAQ6fGYbC3haV5ikSqZHGGfA6n3NeBRX+o6D8NPiZf2+gxalJ/wmdwfKu7Rp4kjZoAZzGBmRUGXwOu2voSkwADwOaAPmPwnHpus+IPiH/a2vXesaHe+F4IbnUtO0NrION8obykUHzCoP3gD6dqi1nVtQ1b4MeOtBtZLTW7Cwh09LLXbHSmtTdEzpmNo8YZ4woJK/L83QHNfUIVV+6oH0FG1du3aNvpjigDyX4Ewv4f17xH4V8Q2jt4rNwb6fV3Qn+2bdziOYN0XaPkMY4XHAwa9bpMDO7Az60tABRRRQAUUUUAFFFFAHCftCRyTfA7xpFDG8kjaNchURSSTsPAA61w3xG1y40uTwVp8z2Oh2c2jF21260Y37RyKsYFqi4wrODnnrtwK90IBGCMikKqQAVBA9qAPlzw5a6bH8FvCF9q3iCfw/qGm61qU+mXV3ozSW5YzSqUmgxiMMjfKOCP4at+NYPGXj7R/AUmm2f9gazd6TquYIYmhikUbP3eThoVmUcHhlD19MFVIwVBHpilwM5wM0Acl8INU0XVfh/pr6FpLaLbWyG1fTWiMbWcsfyvER3IPfv17159+z34SaTT9R1ubWfElo6eJdRcWKXrR2rgXD4zFjBB/WvbgAM4AGaAAOgAoA+fvDvhW4ufhb8V59C0oJ4lv9a1lLecR7Z3O5lUIx5GVJAxxz71mfCTTtL1TxL4Okh8dh9S0W2kEWkweGvsUkWYdjxTuBwAecN1IBFfSgAHQAUgVQSQoBPU460AfH93d+Frb4NaR4XvtDnXxvYeI7d9QZ9NcSwzG/XfO8xXG11IAO47twH09I1rxBY+D/AIlfE211q31FZvEFjayaSsFlJN9sK2zRMiFQQWDdQcYBzXr3jPwzpvizRf7J1Qzrb/aILgmFwrF4ZFkTnB43KM+1bZAJBwMjoaAPlV7TUtP0T4R6tqGqNoOkWvhc2xvZ9I+3RWt2yx4Dxn/VlkDAOfQjvWyfCujS+BfCthBqR8U6VqPj+K7nZtNNtBhw5dVixgRbhn+6cmvpAqpXaVBHpjijauAMDA6cdKAPnf4i+HtR/t/4u6b4R02WCa98Mae8cNmnliZw0ocLjA3mNdvHPSt60tvhx8S/Aep+GPCemrbXp0RYfPTTHtzaspBjjZ2QfOsiqdvJGCa9rwM5wM+tNeMNG6KSm4H5l4IJ7/WgDxP9njUNR8eeINQ+IWsW0kEllYQ+H7eOUcrNF814w+suBn0Svbqw/AvhfS/Bvhm30DSPPa2hZ3Mk775ZXdy7u7YGWLMSeK3KACiiigAooooAKKKKACjvRRQAUUUUAFFFFABRRRQAUUUUAFFFFABRRRQAUUUUAFFFFABRRRQAUUUUAFFFFABRRRQAUUUUAFFFFABRRRQAUUUUAFFFFABRRRQAUUUUAFFFFABRRWN4k8R2Oi+XAyyXd/PkW1lAN0sp9cfwr6scAU0gbNS7uLe0t3uLqeKCFBl5JGCqo9yelSRusiB0YMrDKsDkEetcRFot5rNwmoeLGiuCpDQaah3W1ufU5/1r/wC0eB2FJHY6p4YkM3h1TeaZnMmku+NnPJgY/d/3Dwe2KwWJoufJza/gVyTS5rHc0Vm+H9c07XbM3GnzFtjbJYnXbJC/dXU8qfrWlW7TW5NwooopAFFFFABRRRQAUUUUAFFFFABRRRQAUUUUAFFFNkdY42kkYKigszE4AA70AOrNvPEGhWUhjvNa063cdVluUUj8Ca42e5vvGTNcSXFxZ+HiSLe3iYxyXq/89JGHIQ9lGMjk+lXrHRdHsYhFZ6XZQIOgWFf54yaUpwg7PcydR9Dc/wCEs8Lf9DJo/wD4Gx/40f8ACWeFv+hk0f8A8DY/8azPsdn/AM+lv/36X/Cj7HZ/8+lv/wB+l/wqfbQ7MXPI0/8AhLPC3/QyaP8A+Bsf+NH/AAlnhb/oZNH/APA2P/Gsz7HZ/wDPpb/9+l/wo+x2f/Ppb/8Afpf8KPbQ7MOeRp/8JZ4W/wChk0f/AMDY/wDGj/hLPC3/AEMmj/8AgbH/AI1mfY7P/n0t/wDv0v8AhR9js/8An0t/+/S/4Ue2h2Yc8jT/AOEs8Lf9DJo//gbH/jR/wlnhb/oZNH/8DY/8azPsdn/z6W//AH6X/Cj7HZ/8+lv/AN+l/wAKPbQ7MOeR0Gn6vpWoNtsNTsrs4ziGdXP6GrtcJqHh7RL/AAbjTLcSKcpLGvlyIfVXXBB/GpdB1bUNE1W30fWrp76xu28uxv5MeYknUQynuSM7W74weetxlGfw7jVTXU7aiiig1CiiigAooooAKKKKACiiigAooooAKKKKACiiigAooooAKKKKACiiigAooooAKKKKACiiigAooooAKKKKACiiigAooooAKKKKACiiigAooooAKKKKACiiigAooooAKKKKACiiigAooooAKKKKACiiigAooooAKKKKACiiigAooooAKKKKACiiigAoJwM1R1vVtP0Wwe+1K5S3hXgE8lmPRVA5Zj2A5rlJ49X8V5OprNpWiH7tirbbi6X1mYfcX/YHPqe1TOcaceabsgSbdkWtS8TXeqXEmm+E1jlKMUuNTkGbeA9wn/PV/YcDue1S6FolppRlmVpbm+uMG5vJzummI9T2HoowB6VoWtvBa28dtbQxwwxqFSNFCqo9ABUleTiMXKr7q0j/AFudVOio6vcKKKK5DYxtZ0Jbq7XVNOuX03V41CpdxDO9Qc7JF6OvseR2IqxofihmvU0fxDbppuqNkRENmC6A7xOe/wDsH5h79a0aq6rp9lqlk9lqFulxA/VWHQ9iD1BHqORXdh8a4LlnqvxX9djCpRvrHc6CiuJg1DV/Cnyag1xrGhjpcgb7q0Ho4HMiD+8PmHcHrXX2N5a31nFeWVxFcW8q7o5I2DKw9iK9SLUlzRd0c2qdmT0UUUwCiiigAooooAKKKKACiiigAooooAK5b4nsz+GBp6O0f9o3UNmzKcEI7jfj/gIYfjXU1ynxL/49NE/7DNv/ACaqi7O5E/hY9I0jjWONQiKAqqOgA6ClFLRXAZBRRRQAUUUUAFFFFABRRRQAVl+LLNb7w5fwY+cQtJE3dZE+ZGHuGANalQah/wAeFz/1xf8A9BNXTbU00J7G74av/wC1PD2nan3urWOY49WUE1oVznwv/wCSc+Hf+wdB/wCgCujrrluzoWwUUUUhhRRRQAUUUUAFFFFABRRRQAUUVHdXFvaW0lzdTRwQRKXkkkYKqKOpJPAFAElcZ4x8dR6dqDeH/Dtn/bniMpu+yo+2K1U9HuJOka+3LHsO9Yl94o1vxwzWvhCWXSfD5ysuutHia5GeVtUYcA/89WGP7oPWtbw5oWl+HtP+w6TaiGIsZJGLFpJnPV3c8ux7kmgDKsfGPiPwpJt+IAtr3S5SCNa0+ApHasx+5PFyVQZwJBkY+9jrXpNtNDcwR3FvNHNDIoZJI2DKwPQgjgiucZVZSrKGUjBBGQR6GuRi0nWvBc733ghFutMZi9z4fmk2x8nJa2c/6puvyH5D/s9aAPVaKw/B3irR/FVi9xpkzrNC3l3VpOhjuLaTukiHlT+h6gkVuUAFFFFABRRRQAUUUUAFFFFABRRRQAUUUUAFFFFABRRRQAUUUUAFFFFABRRRQAUUUUAFFFFABRRRQAUUUUAFFFFABRRRQAUUUUAFFFFABRRRQAUUUUAFFFFABRRRQAUUUy4mit4XmnkSKJAWd3bCqPUk0APrnfEXidLK6/srSrY6nrDLkW6NhIR/elfoi/qewrMuda1TxOTB4deTT9KyRJqjJiSYdxAp7f8ATQ8egPWtLRdKsNHtDbWMHlqzF5GJLPIx6s7HlifU1z18TCjpu/63/wAi4U3P0KGmaHJ/aA1jXboanqoz5blcQ2wPVYk/h/3jlj69q3KKK8epVlUlzSZ1xgoqyCiiioKCiiigAooooAK5+40a80q8k1TwtJHBLIS9xp8hxbXR9f8Apm/+0OPUGugorWjXnRd4sicFNakfhvxHZ60ZLfy5LPUYP+Piyn4ljPr/ALS+jDINbVctrui2mrCKSRpLe8gyba7gbbNCfVT6eoOQe4qGw8SXmkTx6d4s8tA7BLfVI12wTHsJB/yyf6/Kex7V7NCvCv8ADo+3+RyTg4b7HX0UAggEcg0VqSFFFFABRRRQAUUUUAFFFFABXKfEv/j00T/sM2/8mrq65T4l/wDHpon/AGGbf+TU0RU+FktFFFcJkFIzKqszsqqoyWY4AHqTS14h+1LLcalqXgLwNJqE1ho/iPWPJ1OSJ9hkjXbiMt2BJ/lTSuxpXPX5Nc0WPT59Rk1jT1srf/XXH2lPLj/3mzgfjV2GSOaFJoZFkjdQyOpyGB6EHuK8F+OPwy8F+B/gl401Dwto/wDZclxpsdvMkcrlHUTIQSpJ+b3rG8X/ABi8QaFfaN4M8M3Wj6U1l4ftbq6vdSs57kSu0SlYkSJWI4x8x4qlG+w7XPpaivANR+Lviq++GPhjxHa6l4Z8KX2omdLyPVreeV3eNto8iFFLsDySccZFZifHLxlc/A+z8WWdppL64vidNFmHlMLe4U5+ZVPKZ469PSjkYcrPpKisTwTH4oj8Owr4yuNMuNY3MZn09GSHaT8oAbnIGAT3rbqCQqvqP/IPuf8Ari//AKCasVX1H/kH3P8A1xf/ANBNVD4kJ7Fv4Yf8k58O/wDYOg/9AFdHXOfDD/knPh3/ALB0H/oAro67Z/EzojsgoooqRhRRRQAUUUUAFFFFABRRXD+L/Gl5HrE3hbwjYrf65GiNdTT5W009XGVaVurMRyI15Pcgc0AbXjLxZo/hW0il1KSSS4uG8u0srdPMuLp/7saDk+54A7kVxD6PrPjG6j1HxyqQ2CMHtfD0Um+FCDlXuGH+uf8A2fuD0J5q/wCGvDEGl3kur393Nq+vXC7bjUrkDeVznZGo4jjHZF/HJ5roKAEACgKoAAGAAMACloooAKKKKAOe8SeGItSvY9Z0y8l0bX4F2walbqCxXOfLlU8Sxn+634EHmrvhfx1KNTh8OeMrWLSNakJW2lRibTUMd4XPRvWNvmHbcOa1Kpa5pOm65pkumatZxXlpKPnjkGRnsR3BHYjkUAdnRXllvrevfD2Nv7Ylu9f8KRgn7aRvvdOT/pqOs0Y/vj5wOoPWvTrS4gu7SG6tpVlgmRZI3U5DKRkEfUUAS0UUUAFFFFABRRRQAUUUUAFFFFABRRRQAUUUUAFFFFABRRRQAUUUUAFFFFABRRRQAUUUUAFFFFABRRRQAUUUUAFFFFABRRRQAUUUUAFFFFABRRWR4l8T+HfDVq114g1zTtLhA3Frq4WPj2yeaANeivnnxx+138LdCEsWjNf+IrlMhRaw+XET/vvjj3ANeNav+1L8Y/HUzad8PfCa2JclQ1naveTjP+0RtB/4DQB9peLfE2keGLBbrVbkRmQ7YYgR5kzeij+Z6Dua43w/eWnxBabUL3VtP1CytJ/L/suxuVmghkGCPOdeJHxg4+6PfrXyvB+z7+0F8ULyHUPH2uNZR4JVtTvDI8YPULEmQv04r3H4G/DZfgONT03VNWub6w1WaNo9Q8sLbRuoIw45MbHOMklTgcis6/P7N+z3/H5Dhy83vbHtYAAAUAAcADtS0gIZQykEEZBHQilrwDvCsP4g6ldaP4D1/VrF1S7stNuLiBmUMFdIyykg8HkdK3KwfiJp93q3gDxDpdhF5t3d6ZcQQR5A3O0bBRk8Dk1ULcyuJ7GB8JvGE2qfBHRfGviu+gjkk037Xf3JURooGdzYHA4HaqvgT41+A/GWurouk3WoRXksD3FsLyyeBbqNRlmjLD5hjmvMPDPhv4pa18DZvg/rXgM6DCujtbw6w+qRSK8yMHRWjXJAYjaTk4Gah+FPw98cQeKtDutf8G6tZXehWM0Vnqd94nF3bxS+UVXy4AMhC2OM4Aro9lD3m3+KM+aWh6X4e+PHw/1zxJZ6DbSavb3F/IYrKW702SGK5cfwozDkntV5PjJ4Jf4ey+OBcXv9mRX39nvH9mP2gXG8J5fl9c5IP0rwvRPh/wDGrUvGHg6+8WaPqtw+j67HdX17c69HNA6Bj88NuMCMAemSfSuhm+EfjBvjlLYLYJ/wrqfxEniWWYSrzOsZPlbM5/1h9MVTpUr7/iJTkekeK/jr8PPDPiCfRNSvb9p7Uot7Lb2MksNmzYwsrqMKeeR2qz4u+M3gbw14gh0O6ub+9u5IIrhv7PsnuEhik+47svABBB+hrxPxX8KPH1j4v8Z29v4X1bxJoniO/ku0ax8TLYQlX6pPEQd2On0FanxJ+H/xCHiTTG+H/gyfSNRs7GztIPENrryohjRFDRXELD96FIIBxyAOvSj2VLTX8UHNI+nAQQCOhGRS1HaiZbaJbhleYIokZRgFscke2c1JXGbBUdzBDc28lvcQxzQyKVeN1DKwPYg9akqO5nhtreS4uZo4YY13PI7BVUepJ6U1e+gnbqYEEWr+FTu0lZtU0UH5tPZt09svrCx+8v8AsH8D2rlfG37Snwu8Iawmlarf6g9w0KzHyLNnCg5+VuhVgQcqRkV1UEur+Kzt0tp9K0U/ev2XbPcj0hU/dU/3z+A71j+J/wBn/wCE/iS/W/1jwstxdCMRmUXUqswGeWwwy2Sck8mvoKXtOT978X9b+f8ATOCXLze5t/WxyQ/a7+DR63+sD66c3+NPX9rj4MH/AJimqj66dJWi/wCy18E2/wCZUkX6X83/AMVUT/sqfBVv+Zcul+l/L/8AFVQFdf2tPguf+YzqQ+unSf4U9f2sPgqf+Y9fD66dL/hSN+yd8F2/5gd+v01CT/Gom/ZI+DDf8wrVB9NRegC0v7VnwUP/ADMl0Prp03/xNPX9qj4Jt/zNE4+unz//ABNZrfsh/Bo9LHWV+mot/hSL+yD8Gwcm01th6HUT/hQBsL+1F8E2/wCZtYfWxm/+JqVf2nPgo3/M4oPrZzf/ABFYEn7IHwdZSFt9cjPquoHj8xULfsd/CMnKtr49vtw/+JoA6pf2lvgo3/M7W4+ttN/8RVLVPjN8NPGmp6BofhnxVbahqMmrQukCxSKSqhiT8ygcCubl/Y2+FLfduvEMf0u1P80qKz/Zu8DfDfxT4e8VaFfazLew6pHGqXMyNHh1YHgKD+tNEz+Fnt1FFFcJiFcn8UPAOg/ETw8uj66s8fkyie1urd9k1tKOjo1dZXLfEL4geE/AVnBc+JtUW1Nw223gRGkmmPfai8n69KavfQaOOPwShuvDmtaTrfjzxTrcmq2a2X2i9nD/AGeIOr/InTJKjJPNWfFHwa0/VNT0/WNH8T674b1e00+PT5LzTpFBuoYwAokUjBIx1rofh18SvCfj6W8g8O3dy9zZBWuLe5tXglRWztO1hyDg9K7HB9DT5pId2eVa/wDBez1W08POvjPxNa6xoSSxw6us6vcypKcuHJGPpjoKgtvgToNv4HXwmmuarJbL4gXXfPl2vKZV/gJ7g9z1r0/XNV03QtLn1TWb6DT7G3AM1xcPsSME4GT25IFWbeSO4hjmhYSRyoHjZeQykZBHsRRzMLsfRQetFSSFQX+PsNxnp5L/APoJqeoNQ/5B9z/1xf8A9BNVH4kJ7Hx9pvhT9rSbT4Ljw/q2qrpEiBrFU1SFQsJ+4AC2Rxjipz4X/bNTpqmtH/uJwH+tfYfwu/5Jx4d/7BsH/oArpK7Z/Ezojsj4W/sL9tBP+Yhrp/7frc/1pP7M/bRT/l515v8At6tj/WvuqipGfCht/wBtJP49fP8A21tj/Wkz+2kn8HiA/jan+tfdlFAHwn9q/bSX/lj4gP8A2ztTS/2p+2gn/Lp4gP8A262x/pX3XRQB8KHxB+2dH10/xAf+4fAf6U3/AISz9sqPrpmvH/uEwn/2Wvu2igD4RPjr9sWPrpOun/uCRH/2SvSf2etV+J8nimXVfijDdWtzr2+yijubNbYmS2QSIwUAA5R5Bn/YxX1LXD/G2xaXwQ+tQRs13oFxHq0G37xEJzIo+sZkH40AaVFRWtxDd2sN3bOJIJ41kjYdGVhkH8jUtABRRWN401PVtI8O3F7oehya5qIKpBZJKI97McZZjwqjqT6CgDZory34U/EvX/EfjvXPBPizwxbaNq+lW6XBazvPtELIxGAT2bkfrXqVABRRRQByXxSzeaDbeGYZmiuPEN7FpqlfvCNjumI+kSvXqEEUcEEcEKBI41CIo6AAYArzjRUj1z4xuzR74fDOncMeguro9vcRJ/5Er0qgAooooAKKKKACiiigAooooAKKKKACiiigAooooAKKKKACiiigAooooAKKKKACiiigAooooAKKKKACiiigAooooAKKKKACiivIPH37SPwl8Hzy2lz4h/tO9jJV7bTYzMysDggtwoP1NAHr9Br4r8WftneINUuXsPh/4JVHfiKW8LTyk+ojTj9TXOp4b/at+L8bPqV3qmmaZMeVuphYQEHsI1wzD8DQB9feOfi38OfBcLt4g8W6bbyr/wAu8colmJ9NiZNeD+O/21fDNmGg8G+Gb7VZe0964t4vwUZY/pVDwP8AsT6fGEuPGvi6e6lzue306PYp9vMfJP5CvevA3wP+Fvg3ypNG8H6ebmMcXV0n2ibPrufOD9MUAfKEnxN/ag+LVwYvC2mX+l2L8A6da/Z4gPeaTk/gfwrV8M/se+OvEd62pfETxlFbSSHdII3a8uGPu7EKPzNfbyqqqFVQoHQAcCloA8P8Cfss/CTwyiPdaPLr90OTNqUu8Z9kXCj8jXsmkaVpmj2SWWk6faWFsgwsNtCsaD8FGKuUUAFMnijnheGaNJI3Uq6OMhgeoI70+igDirjQ9T8MsZ/Dqvf6V1fSmb54R3MDH/0WePQjpWjourWOsWn2qwm3qDtkRlKvE3dXU8qR6GukrnvEPhmO+u/7V0u4OmawoAFzGuVmA6JKnR1/UdjXPXwsK2uz/rf/ADLhUcPQt0Vh6Zrki366Pr1qNN1Uj5F3ZhufeJ/4v904YenetyvHqU5U5cslqdcZqSugoooqCgooooAKKKKACiiufn1i91a8k0zwrHHPJG2251CUZtrY9wP+ej/7I4HcitaNGdaVooidRQV2Tat4n0iwun09Lhb3VFZVGn2rCS4LMMjKA/KMc5bAA70un+GrzVriPUfFhjk2EPBpcbbreAg5DOf+Wr+5+Udh3r5M+N3wb+LHw18bXfxU8DeItS1tnkae7uYxi7iz94PGOJI+OwwB1HGa9N/Z8/ao0Hxibfw/458jQtfYiNLgnba3LfU/6tj6Hj0PavYoUI0Vdb9/8jknNzeux9KjgUUisGUMpBBGQR3pa2JCiiigAooooAKKKKACiiigArk/iX/x66J/2Gbf+TV1lcn8S/8Aj10T/sM2/wDJqaIn8LJqKKK4TIDXz54svLLRv2thqHimW1torjw55Xhy6v8A/j1iuR94EngHOc9+fcV9B1keKfDPh7xTp4sPEejWWq2ytuWO5iDhT6jPQ/Sqi7DTPnuX4ieMdW0H4s6Trd14abUNB0JZINU8Oh03F8nAkLZOPwwc1W1NE0P4ReFLzWvG3jrUNY8ZNbTBLfVUtgX8rPliVxthjwwyeSSBXvekfDrwLpGjX+j6X4V0u0sNRj8q9hihwJ0/uuepH41a1jwX4T1jw5a+HNU8P2F5pFoqLbWksW5IQowu3uMDiq5kVzI+RrybVdd+A/xP03U9d1m4tvDmp28likuqrdthjtaOSZRiVOc8YGQD2rovHN9e6Lo3w58F+HPFWtXuharby3V3cpr0cE8swVT5AumBVFXPC/hX0lpHgPwZpGmahpmmeGdMtLHUUCXlvHABHOoGAGXoeKrv8NvAMnhiPwzJ4S0p9HilM0do0AKJIerDuCfXNHOg5kcl+zLJ4oHhnWLLxHqa6jFa6iU0931OO+mjhKg+XLLHwWHvjrXrNZHhXwz4f8K6adN8N6PZ6VZlzI0VtHtVmIxuPqeOta9Q3dksKg1D/jwuf+uL/wDoJqeoNQ/48Ln/AK4v/wCgmnH4kS9iz8Lv+SceHf8AsGwf+gCukrm/hd/yTjw7/wBg2D/0AV0lds/iZ0R2QUUUVIwooooAKKKKACiiigApk8Uc8EkEyB45FKOp6EEYIp9FAHlvwtaa10G58OXQIuPD97Lppz/FEp3Qt+MTJXWVzusRSaN8YhIGAs/Eem9PS6tj/NonH/fuuioAK5T4tXul2XgLUf7b0fVtX0y4C211baZGzzmNzgsApBwO5BzXV0AkdOKAPmv9mbSprL4s+IbrwdouvaV4AnslyusQlZJLoEY2FvmIA3dSf5V9KUEk9STRQAU2WSOGJ5ZWCxopZ2PYAZJp1cp8U3mm8Lf2FaTGK7125i0uFh1USnEjD6Rhz+FAGx8E7e4k8ISeILyPZda/eS6kykcrG5AhX8IlSu5qGytobOygs7dAkMEaxxqOyqMAfkKmoAKKKKACiiigAooooAKKKKACiiigArG8UeILfQI7RprS8u5LufyIYrZAzltrN3IGMKa2a474j/8AIT8Lf9hNv/SeWtKUVKVmRNtRuh//AAm5/wChV8Q/9+Y//i6P+E3P/Qq+If8AvzH/APF0UV0+yh2MueXcP+E3P/Qq+If+/Mf/AMXR/wAJuf8AoVfEP/fmP/4uiij2UOwc8u4f8Juf+hV8Q/8AfmP/AOLo/wCE3P8A0KviH/vzH/8AF0UUeyh2Dnl3D/hNz/0KviH/AL8x/wDxdH/Cbn/oVfEP/fmP/wCLooo9lDsHPLuR3Pj+G1ga4uvDevwQJy8jQR4Qepw/SuyHIrzfxz/yKOp/9cD/ADFejr90fSsa0IxSaLpybbTFooorA1CiiigAooooAKKKKACsDxb4iGkLFZWMIvdYuwRa2oOB7yOf4Yx3P4Dmjxb4iGkLFZ2UIvdXu8i1tQcfV3P8MY7n8BzWVoWkmxaa9vLg3uq3ZDXV0wwW9EUfwovQL+J5pTmqauy6dN1HZbFJNB1iVfNvPGmvfaH+aQW0kccQY9QilCQvpyad/wAI9qH/AEOnif8A8CIv/jdb9Fcn1ur3/I6/q1LsYH/CPah/0Onif/wIi/8AjdeQN+yh8O7rXL/VdU1HXb17u4efy/OSNULHJHC88k+le/UVLxNR7saw9NbI8/8ACnwq0bwhamLwlqV/pDgfK8ccByR03ny9zD2JrvfCPiKTUJZNJ1aFLTWrZcyxKfkmTtLET1U/mp4NPrM1/SI9Uiikjme0v7ZvMtLuMfPC/wDVT0KngitqWJbdqn39jKphla8Nzs6K5zwj4ik1CWTSdWiS01q2XMsSn5Jk7SxE9UP5qeDXR10tWOVMKKKKQBRRRQAUUUUAFFFFAFLW9J0/WrBrHUrVLiFiGAbgqw6MpHKkdiOa5OZtX8J/LqLT6toi/dvQu64th6SqPvqP74GR3Heu5oPPWpnCNSPLNXQJtO6MS1uILq3jubWaOeGRdySRsGVh6gipax9S8M3el3MmpeE2jhZ2L3GmSHFvcEnkr/zzf3HB7jvUmh63aaqZYVSW1voOLizuF2zRH3HcejDIPrXk4jCSpe8tV/W51U6ylo9zUooorkNgqrquo2Wl2T3moXCW8C/xN3PYAdST2A5NUNZ1xba8XS9Ntm1LV5BlLWI4EY/vyt0Rfc8nsDVnQ/C7LeprHiC4XUdUXmIAYgtPaJD3/wBo/MfbpXdh8E5+9PRfi/67mFSslpHczrfT9Y8VYk1FbjR9EOCtqDsubsf9NCP9Wh/uj5j3I6V2FhZ2thZxWdlbxW9vEoWOKNQqqB2AFT0V6kUox5YqyObd3e4V88ftB/sv+GfHouNc8KiHQPEbAu2xcW123+2o+6x/vD8Qa+h6KYHwT8O/jP8AE/4B+IU8E/ErS72/0aJgqRztulhjHG63l6On+yTj0xX2l8PPHXhfx/oEet+FdWhv7ZwN6g4khb+66HlT9ab8RvAfhb4g6BJovirSob63IPluRiSFsfeR+qmvi34hfBz4ofs++IX8a/DfVb2/0WM5eWFcyRJ12XEQ4dP9oDH0oA++KK+ev2fP2nvDPxAEGieJ/I8P+I2wqq74trpv+mbH7rH+6fwJr6FoAKKKKACiiigAooooAK5P4l/8euif9hm3/k1dZXLfFBHXwx/aCRtJ/Z11DeMqjJKI434/4CWP4VUVd2IqfCx9FNjdJI1kjYOjgMrDoQehp1cBkFFFFABRRRQAUUUUAFFFFABUGof8eFz/ANcX/wDQTU9ZXiy8Fj4cvp/4zC0cS93kf5UUe5YgVdNNySQnsa/wu/5Jx4d/7BsH/oArpKz/AA1Yf2V4e07TeP8ARbWOE49VUCtCuyTu2dC2CiiipGFFFFABRRRQAUUUUAFFFFAHB/G+18vwlB4kiDfaPDl5HqalRyY0ysy/QxM/5CtSKSOaJJoWDxuoZGHQqRkH8q6O9toL2zms7qJZYJ42jlRhwysMEH6g15X4ct/iB4f0O10JvBa6munobeK7TWIkE0aEiNtrLkHbtyD3oA7Oiuc/tDx7/wBE5P8A4PIP/iaP7Q8e/wDROT/4PIP/AImgDo6K5z+0PHv/AETk/wDg8g/+Jo/tDx7/ANE5P/g8g/8AiaAOjrmrGNNc+MdrEQXg8Nae1y/90XNzlEH1Eauf+B07+0PHv/ROT/4PIP8A4mtn4XaLqmm2Oqalr1rFa6tq+oSXU0McokEUYASKPeOGwiL07k0AdhRRRQAUUUUAFFFFABRRRQAUUUUAFFFFABXHfEf/AJCfhb/sJt/6Ty12Ncd8R/8AkJ+Fv+wm3/pPLWtD418/yM6vwj6KKK6zEKKKKACiiigAooooAxfHP/Io6n/1wP8AMV6Ov3R9K848c/8AIo6n/wBcD/MV6Ov3R9KxxHwr5/oXS+Ji0UUVym4UUUUAFFFFABWD4t8RLpCxWdnCL3V7vItbUHGfV3P8MY7n8BzW9XnvhFVn1XxHqE37y7Orz23mtywijICID2UZPHvSlJQi5MqEeeSiXtB0k2LTXt7cfbdVu8G6umGN3oij+FF7L+PWtSiivOnNzd2ejGKirIKKKKgoKKKKACiiigDM1/SE1OKKSOZ7S/tm8y0u4x88L/1U9Cp4IrQ8I+In1CSTSdWiS01q1UGaJT8ky9pYieqn81PBp9YHjSNEj0vUEGy7ttTtVhmXhlV5kR1z6MpII712Yaq21Tlt08jkxFJWc1ud/RRRXScoUUUUAFFFFABRRRQAUUUUAFY3iXw5Y60I5maW0v4Afs17bnbLCfQHuvqpyDWzRTTA4dNavNFuU0/xYsUG47YNSjG22n9mz/qn/wBknB7GkjvdU8UO0Ph5mstMyVl1Z05f1Fup+9/vngdga63W2sI9IupdUjikskiZpllUMpUDJyDwa474R+NR4qj1C3nWOGa3mLQxKMYgJ+UY9un5VgsNRUufl1/Arnm1a51fh/RNO0Oza20+ErvbfNK7FpJn7u7Hlj7mtKiit229yUrBRRRSAKKKKAChgGBVgCD1BoooA+Zv2gv2VNB8XfaNf8B+RoWunLva422ty3XoP9Wx9Rx7d68r+Fvx/wDiB8G9eHgb4saXqF7p1uwjDTjN1bJ0DIx4lj9Ofoe1fdtcf8U/ht4R+JWhNpPinS47jaD5Fynyz27H+JH6j6dD3FAGp4J8W+HfGmgw654Z1W31GxlAw8Tcof7rDqrD0NblfAPjH4b/ABa/Zr8SP4r8Falcaj4e3/vJ4kLIUz9y5i6f8CHHoRX0V+z/APtJeE/iVHDpOqNHoXiUgA2kr/urg+sTnr/unn60Ae6UUUUAFFFFABTZEWSNo5FDIwKspGQQe1OooA87mtb7waTbvb3F74eBzbzwqZJbJT/BIo5aMdmGSBwRxmrtprmi3abrfVrGQe065H4E8V29ZeoeHPD+oyGS/wBD026c9WmtUcn8SKUoQm7vcydN9DE/tDT/APoIWf8A3/X/ABo/tDT/APoIWf8A3/X/ABrQ/wCEK8H/APQq6J/4Ax/4Uf8ACFeD/wDoVdE/8AY/8Kn2MO7FySM/+0NP/wCghZ/9/wBf8aP7Q0//AKCFn/3/AF/xrQ/4Qrwf/wBCron/AIAx/wCFH/CFeD/+hV0T/wAAY/8ACj2MO7DkkZ/9oaf/ANBCz/7/AK/40f2hp/8A0ELP/v8Ar/jWh/whXg//AKFXRP8AwBj/AMKP+EK8H/8AQq6J/wCAMf8AhR7GHdhySM/+0NP/AOghZ/8Af9f8aP7Q0/8A6CFn/wB/1/xrQ/4Qrwf/ANCron/gDH/hR/whXg//AKFXRP8AwBj/AMKPYw7sOSRhX/iPQ7MES6nbvJ/DFC3myMfQKuSTUug6RqOt6rb61rVq9lY2reZY2EmPMaTHE0voR/CvbOTzXU6bo+k6YP8AiW6XZWfY+RAqfyFXquMYw+Hcap66hRRRQahRRRQAUUUUAFFFFABRRRQAUUUUAFFFFABRRRQAUUUUAFFFFABRRRQAUUUUAFFFFABRRRQAUUUUAFFFFABXHfEf/kJ+Fv8AsJt/6Ty12Ncd8R/+Qn4W/wCwm3/pPLWtD418/wAjOr8I+iiqmtLcvo18lkSLpraQQkf39p2/riusyOB8TfHD4c+H9buNHutWubu7tTi6FhZyXC257h2UYFd3oGr6dr+i2mtaRdLd2F3GJYJlBAdT355H418vfC7xVceGfgKR4T1Hwpp/ibTbi7l8R2uuAi4nZSSAoyCzHGBnjtW/pHjm6uPGHwZ1rVNQttE03VdKvHu4IZPs9mZMHGVzt64xnuayU+5Tie3fETxfpfgXwy/iDWkuGtFmihIgTc26Rtq8E9MmmaL400nVvHWseDbVLn+0tJt4bi4LJiMpIAV2nPJ5Ga+YfF+uz6/8Kfibctq0upWaeN7ZbKQzmRFi8wYCdgv04rqta0fUtd+LXxfsNGvrux1P/hHrGa0mtpSjiWNUZRkc4OMH60e0dw5T6Zor55+CfjXVvin8StI1VLy7j07w94djXUoldljm1CUlTuXo2ApPtX0NWkXdXJasYnjshfB+qMxAUW5JJOABkV20fiDQWUbdb008drpD/WuA+KFq198OvEFiriNrmwlhDEZCllxn9a+dU/Yj8QBcj4g6fnHaxkH/ALNWWI+FfP8AQql8TPs5dY0lvu6pYt9Lhf8AGpV1Cwb7t9bH6Sr/AI18VP8AsU+Ll/1PxA00/W3lH9ajb9jHx4v+r8e6Wf8AgMwrlNz7dW4t2+7PE30cVIGU9GH518Mt+xz8S1/1fjjSj/20nH9KY37IPxYX/V+NdKP/AG9Tj/2WgD7qyPUUV8J/8Mk/GNP9X400z8L+4H/stH/DKvxxj/1fjWx/DVLgf+y0AfdlefeCv9Z4i/7D13/MV8rD9mP9oCP/AFfja3/DWJx/Svev2ZtB1zwz8ObjQ/El4LzVbTV7pLmYTGXe24c7jyazrP8AdP5GtD+Ij1Ciig9D9K849A8p8L/HTw74k8RR6PpPhzxVOHvjYm8XTibaOQNtJZwcADv7V1fw08c6f48stVutNs7q2XTdTm06QT7cu8eMsME8HNeJfsnab4+ntr6+0nxXp1p4aj8TXX2vTZNPEk02GG7Ev8ORj6YrhE1a+074W6rbLqV3pWiah8R57XWr21Yq8NscZG4fdB9fauh04vRHOqkt2fahB9KMH0NfItjqP/CJ+LvHth8G9evtY0G28JNeEi7a7jtrzcACjHPzbcn8/SqHhiXw7puq/C3V/h/4y1PV/FusX8K69btqDzGSNgDN5sZOECncPwz71PsfMftfI+p/iR4rs/A3gnUfFeoWtxdWtggd4oMb2BYLxnjvWzpd2moaZa38assdzCkyq3UBlBAP518NeOZvD2seBfiJrfivxbqUfjyPWpbW30171kBt1kG2MQ9GTGTnttFfbHg7/kUNF/7B9v8A+i1pTgopFQm5NmrWB46Yrpdjjvq1iP8AyYSt+uf8ef8AILsP+wvY/wDpQlVhv4sRV/4cj0Ciiiu44AooooAKKKKACiiigAooooAKKKKAK+o2drqFnJaXtulxbyD543GQ31rlPhtouhWsVxf6d4eu9Kn894/9LH7wrx05+4e1dk5whJOMDrXNfDe4t7nQZJrbW7zWIzcuPPukKOpGPlwewoA6aiiigAooooAKKKKACiiigAooooAbNHHNE8M0aSRupV0cZDA9QQeor5Y+P/7J+m61JN4k+GbRaPqwPmPpu7ZbzN1zGf8Alm3t936V9U0UAfDvwh/aT8ZfDXWB4H+MWnahPb2zeWbmZD9stR23Z/1qe/XHQmvs7wr4i0TxTokGteHtTttSsJxmOaB9w+h9D6g8iuY+L/wn8G/FHRjY+JNPH2lFItr+EBbi3P8Ast3H+ycivjfXvCfxi/Zd8Strnh68k1Lw1LJ88yIWtpl7LPH/AANj+L8jQB+gdFeN/AT9oTwf8UreKxMi6N4iCjzNOuJB+8PcxN/GPbqPSvZKACiiigAooooAKKKKACiiigAooooAKKKKACiiigAooooAKKKKACiiigAooooAKKKKACiiigAooooAKKKKACiiigAooooAKKKKACiiigAooooAKKKKACiiigAooooAK474j/8AIT8Lf9hNv/SeWuxrjviP/wAhPwt/2E2/9J5a1ofGvn+RnV+EfRRRXWYnJeIfhr4A8Qam2qa14Q0i+vmOXnltxvY+5HX8at634G8H63o9no+reGtMu9Psv+PW3kgGyH/dHauiopcqHdnMD4feCRpV1pK+F9MSwu547i4tlh2xySJjYxA7jAxWna6DpFjrV9r1jptrDq17EsVxchcNKqD5FY+gwK1KKLILnnnwM+Hcnw+0XVUvrmzutU1bUZL67ktIykS7j8qIDzgDP516HRRQlZWBu5i+Of8AkUdT/wCuB/mK9HX7o+leceOf+RR1P/rgf5ivR1+6PpWWI+GPz/Qql8TFooorlNwooooAKKKKACvPvBP+s8Rf9h67/wDQhXoNee2gfw34jvtO1JQtvq1/Ld2N3/A7yYJhb+64xx/eHTnipqpyptI0otKomzoqKKK8w9Ep6PpOl6Pbvb6Tp9rYwvK0zpbxhFZ26sQO59arw+HfD8OnXenRaJp6WV5I0t1bi3Xy5nbqzLjBJ9TWpRTuxWRm6DoGh6Bava6Ho9hpkDnc8drAsasfU4HNQaR4U8MaPqMupaT4d0qxvZs+ZPb2qI7Z68gZrZoouwsjEv8Awh4Uv7+5v77w3pFzd3UZiuJ5bRGeVD1ViRkitmGOOGJIYUWONFCoqjAUDgAU6ii7CyCuf8ef8guw/wCwvY/+lCV0Fc7q5fxBrFtoGmr5hs7y3u7+4/5Z24jcOE93bA+XsDk1vhYt1U+xjiGlTfmehUUUV2nCFFFFABRRRQAUUUUAFFFFABRRRQBn+ItXs9D0mXUdQlMNumAX2FgpPAyBzjNc78MfE1vrVlLatqNne30TM8htLZ4o1Qn5fvDrV3x3q2lQadLo93BNqF1fRMkdhbKHmkU8bsdFA/vEgVjfBDT9L03wvJHaXHm3zTE3qOu2WJuioynlcD8+cU+V2uK6vY76iiikMKKKKACiiigAooooAKKKKACiiigAqK8tre8tZbW7gjuLeVSkkUihldT1BB4IqWigD5G+Pf7JyS3Enin4TSf2ffxt5zaV5hRCw5zA/wDA2einj0IrC+Cv7UWv+ENSHgv4yWV6fszeT/aEkRFzbn0mT+Mf7Q5+tfa1ecfGr4M+DPipphi1yzFvqaLi31O3UCeL0BP8a/7J/DFAHc6DrGl69pMGraLqFvqFjcLuingcOjD6ir1fnzdWHxn/AGV/EpurSQ6l4Ynl5Zdz2VyM9HXrFJjvx9SK+sfgZ8dfBfxVskhsLkadripmfS7lgJAccmM9JF9xz6gUAeq0Vm6/rul6FAs2pXSxGQkRRgFpJT6Ig5Y/QVhp4yvLgb7TwlrLxn7rTNDCSPXaz5/OqUXa5LnFbnXUVyL+LNaBGzwbfN9b23H/ALPTf+Et1z/oS7z/AMD7f/4qjkfdfehe0idhRXH/APCW65/0Jd5/4H2//wAVR/wluuf9CXef+B9v/wDFU+R9196D2kTsKK4//hLdc/6Eu8/8D7f/AOKo/wCEt1z/AKEu8/8AA+3/APiqOR9196D2kTsKK4//AIS3XP8AoS7z/wAD7f8A+KpU8Wa0T83gy9A9r23P/s9Lkfdfeg9pE6+iuRbxv9lYHVfDms2UR6zLGk6J7t5bEge+K6XTNQstTso73T7qK6t5B8skTblNDi0rjUk9izRRRUlBRRRQAUUUUAFFFFABRRRQAUUUUAFFFFABRRRQAUUUUAFFFFABRRRQAUUUUAFFFFABRRRQAUUUUAFFFFABXHfEf/kJ+Fv+wm3/AKTy12NcR8VLq1srvwxcXlxDbQrqjbpJXCqP9Hl6k8VtQ+Nf10M6vwlmisj/AISfw1/0MOk/+Bif40f8JP4a/wChh0n/AMDE/wAa7OV9jC6Neisj/hJ/DX/Qw6T/AOBif40f8JP4a/6GHSf/AAMT/GjlfYLo16KyP+En8Nf9DDpP/gYn+NH/AAk/hr/oYdJ/8DE/xo5X2C6Neisj/hJ/DX/Qw6T/AOBif40f8JP4a/6GHSf/AAMT/GjlfYLoZ45/5FHU/wDrgf5ivR1+6PpXkvjHxF4fuPC+oQwa5pksrxbURLpCzEkYAGeTXrS/dH0rDEpqMb+f6GlJ6sWiiiuQ3CiiigAooooAKp6zpllq+nTafqECz28owynt6EHqCOoI6VcooTsBwNpPe+H9Si0LXZmmilO3TtRfgTjtFIe0o9f4hz1zW9WprOmWWsabNp+oQLNbyjDKeCPQg9iDyCOlcba3F7oGpRaFrkzTRSnbp2ovwJx2ik9JR+TDkc5FYV6KkuaPzR00a1vdkb1FFFcJ2BRRRQAUUVh6heX2qam/h/w/IEuFA+3X2MpZIew7NKR0Xt1PvpSpSqOyIqVFBXYaheX2q6k/h/w/IEnXH26+xuSyU9h2MpHRe3U+/W6BpFjoemR6fp8WyJMsxY5aRj952PUsTyTRoGkWOh6ZHp+nxFIkyWZjl5GP3nY9WYnkmr9eilGC5Y7HnSk5vmkFFFFAgooooAKKKKACiiigAooqjrerafoti17qVwsEIOBnlnY9FUDlmPYDmhK4XLxOASTgVyGoeJbzV7iTTvCQjdUbZcarIu6CH1EY/wCWr/T5R3Paqs0WreLDv1RZtK0U4KaerbZ7kf8ATZh91f8AYH4ntW/awQ2ttHb20McMMahUjRQqqPQAdK5K+MjT92Gr/Bf5/kaQpOWr0RQ0LRbPSVkeNpbi7nwbm8nbdNOf9pvT0AwB2FRazocd5dJqVjcPp2rRgCO8hAywH8Ei9HT2P4EVsUV5ir1FPnT1Ol04uPLbQzdD8USLex6P4kt00/U34hkU/wCj3fvGx6H/AGD831611Fc/qmn2ep2T2V/bx3ED9Ucd+xHoR2I5FZEF9q/hMBLw3OsaEuAJwN91aD/bA/1qD+8PmHfPWvWoYqFbTaX5+n+RyzpuHmjt6KgsLy1v7OK8sriK4t5V3RyRsGVh7Gp66CAooooAKKKKACiiigAooooAKKKKACiiigCtqmn2Oq6fPp+pWcF5ZzoUmgmQOjqexB4NfJfxb/ZY0zRPEdv408Ea9PoOmW9wJry1V2823Gf+XZhzkn5Qp6EjntX17XKfEw7tM0uBuUm1a2Vx2IDFv5qKcbX1Jk7JmP4a0maALqmsSNdazNGBJLIdxhXAxEmegHc/xHJNbtBorjlJyd2YpWCiiipAKKKKACiiigAooooAKwL7PhfUf+Ei09WSzdwNVtU+46E488Ds69SR1XOe1b9VNahW40e+gkAKyW0ikH0KmtaM3GS7Cfc7BWDKGUggjII70tYfw+uZLzwLoV1KSXksIWYnudgrcrpas7HQndBRRRSGFFFFABRRRQAUUUUAFFFFABRRRQAVDe3VtY2kt5eXEVtbQoXlllcKiKOpJPAFY3jTxdpPhW0je+aWe8uDts7C2XzLm6f+7Gnf3JwB3Irim0XWPF13HqXjry1tI332ugQvut4v7rTt/wAtpB6fcU9AetAHceEfFvh3xZbzT6BqkV4IH2SqAVdPQlWAIBHIOMEcjNblec+IvC9vqV3Dq2n3U2j65bKFt9RtQA4Uf8s5F6SR/wCw34YPNWvC/jq4i1KHw542todK1iT5ba6jJ+xagf8Apkx+6/rG3PpuoA7yiiigAooooAKKKKACiiigAooooAKKKKACiiigAqG7tbW7QR3VvDOgOQsqBgD64NTUUAUP7F0b/oE2H/gMn+FH9i6N/wBAmw/8Bk/wq/RTuxWRQ/sXRv8AoE2H/gMn+FH9i6N/0CbD/wABk/wq/RRdhZFD+xdG/wCgTYf+Ayf4Uf2Lo3/QJsP/AAGT/Cr9FF2FkUP7F0b/AKBNh/4DJ/hR/Yujf9Amw/8AAZP8Kv0UczCyKA0XR1YMuk2AIOQRbpx+lX6KKVx2CiiigAooooAKKKKACiiigAqnrOmWWsabNp+oQia3lGGU8EHsQexB5BHQ1cooTsBxsPhnxVbxiCHxZbSRJ8sbXGmb5NvbcwkG4474Gad/wj/i7/oaNN/8FB/+O12FFPTsvuQ7y7v7zyL4wr8SfDXw71XV/DmoQ6xqsUYFvbWujEuSWALf6w8AZPQ9K+adA/ax8aWOpjTvGmk29p5fyzPBYETK3vG7qP1Ffedcx42+H/grxpbtD4o8NabqeRgSSwjzV+jj5h+BqbRvey+5D55W3Z5V4B+KHh3x9CkGkfFXSLW6mG021zpX2a5XP93fKQT6EbhmvbPD+k2OiaXHYafHtiXLFidzSMers38THqTXy/8AEP8AYt8OXqyXXgbxBdaTPnKW17++h+gYfOP1rzc6T+1J8D5d9jJqWraPCOkLG/tSo9UPzJ+Qqr6WSJd3uz74or5A+H37aVoWWy+IHhaa0mVtr3WnHco9d0TnI/An6V9F+Afir8PvHUUZ8M+KdPvJnAP2ZpPLnHsY2w2fwpAdpRRRQAUUUUAFFFFABRTLiaK3heaeRIokUs7uwCqB1JJ6VxtzrWqeJnNv4dd7DSuRJqrJ88w9LdT2/wBs8egPWk2ormk7IOtkafiHxPHZ3f8AZOlW51PWGGRbo2EhB6NK/RF/U9hWfpehyfbl1jXLoalq2PkcriK2HdYU/h/3vvHuavaNpVjo9p9msYdik7pHYlnlbuzseWY+pq9Xl4jGOfuw0X4s6adG2stwooorhNwooooAKBRRQBz9xo15pd5JqnhaSO3mkbdcWEhxbXJzycD/AFb/AO0OvcGtzw54js9ZMlv5ctnqMA/0iyuBiWP39GX0YZBqSszXdFtNWEckjS215Bzb3kDbZoT7HuPVTkHuK9HD45r3auq79f8AgnNUodYHU0Vx+n+JLzSbiPT/ABb5cYdtlvqka7beY9lcf8snPoflPY9q7AcjNel0utjnuFFFFAwooooAKKKKACiiigAooooAK5T4lf8AHpov/YYt/wD2aurrlPiV/wAemi/9hi3/APZqaIn8LJaKKK4TIKKK4H41fEN/AWj6emnaW2r69rF2LPS7ENtEkh6lj2UZH500rgjvqK8T8VeNPjD4T+HfifWvFGheHLa4sbFLixu7GZpYvMMiqYpEY5yAxORxxXaX/wATfCHhvw9od54y8RWGlXWpWUVwsb7iWLKCSFUEhcnr0p8rHZncUVyPiD4meAdA0bT9Z1fxVp9tp+pKWsp9zOs4HUrtBJxkU9/iP4FTwra+KW8T2A0S6uBaw3uW8tpTnCHjKng9cY70rMLM6uisrwr4i0TxVo0es+HtRh1HT5HZEuIgdrMpww5APBFatIQVBqH/AB4XP/XF/wD0E1PUGof8eFz/ANcX/wDQTVQ+JCexa+GH/JOfDv8A2DoP/QBXR1znww/5Jz4d/wCwdB/6AK6Ou2fxM3jsgoooqSgooooAKKKKACiiigAooqnreq6bommT6nq17BZWcC7pJpnCqo/x9upoAuVwXiTx1cXWoz+HfA9vDqeqRHZdXspP2LTz3EjD78npGvPqVrJvdQ8RePyY4De+G/CrcFuYr/UFz27wREd/vkH+Gui0jTdP0jTotO0uzhs7SEYjhiXao/xPqepoAy/DXhi20m6m1S7up9W1y5GLnU7rBlcf3EA4jjHZF4+p5rfoooAKp6zpen6zpsum6rZw3lpKPnilXIOOh9iOoI5FXKKAOTsdU8QeAAI75rzxF4VQACfBlv8AT1/2wOZ4gO4+cDqG616Po+p6frGmwalpV5Be2c67opoXDKw9iKxK5S78Paloeoza54FnhsrqVt93pcxIsr455JA/1Uh/56KOf4gaAPUaK5nwX4003xK01kYptN1m1H+l6Xd4WeHnG4dnQ9nXIP6V01ABRRRQAUUUUAFFFFABRRRQAUUUUAFFFFABRRRQAUUUUAFFFFABRRRQAUUUUAFFFFABRRRQAUUUUAFFFFABRRRQAUUUUAFFFFABRRRQBwnxA+EHw58dRSDxF4VsJrhwf9KhTyZwfXemCfxzXzr4+/YuMM39ofDvxZJbyodyW2o5yp7bZUGR+I/GvsWigD4HTxT+1D8EXaPWbbUNU0iHgtdx/brbaO4lX5lH1I+len/Dz9s/wnqIitvGuh3miXB4e4tf38GfXH3wPwNfVDKrKVZQykYIIyDXl/xE+APws8cK8mpeGYLO8bJ+16f/AKPLn1O3hvxBoA6/wb448IeMrX7R4X8Rabqq4yVt5wXUf7S/eH4iuir4o8Y/sdeKtCvzqvw08YeY8Z3RRXLm2uEPoJU4P4hawLX4x/tHfB51s/G2j3Wo2EbYDarblwR6LcJ1/EmgD72rK8R6/p+h26Pdu7zynbb20K75p2/uoo5P16Dua8W+GP7RsPxF0SZ9L8NXGkXkMkcE93eyB7G3dwcFpFwT0OFIGfWvUdE0OGxuJNQuLiTUNUnH729mwWI/uoBwieij9ayr1o0Ypy67DhFzdkVDpmpeIplu/FG2O0Vt0GkRtujX0Mx/5aN7fdHv1roQAoCqAABgAdqWivGrVp1XeR2QgoLQKKKKyLCiivEP2soPFkml+HrjS4dduvDMF4z+ILfRJTHePFgbSpHO0fNnHtmrpw55ctxSdlc9uYhfvEL9TigMpJAYEjqAelfLGs6v4Ab4LeHJvDd7rfiXTW8YWqeXqmoSLc2UzH7jEc4GMhTwc9ap+Jde8VeH7z4/ar4VkEd3bahamS4MxR7aLYd0kfqwOBj3NbLDt9f6uR7Q+tKK4f4Hap4t1n4b6XqPjK0tIL+aCNont5/N8+IxqVlc9nbJyK7iueSs7Fp3QUUUUhkd1BBdW8ltcwxzQyKVeORQysD2IPWsCGPV/Ch3aYs2q6KDlrFm3XFsP+mLH76j+4efQ9q6Oit6GInRem3YznSU/Us6Lq2n6zYre6bdJcQklSRwUYdVYHlWHcHmrtcXreki2nm1/Sb6LSNQRC00z/8AHvOo7TL0I/2uGHr2r5/+L37WHiDwV4rj0e08G2E8RtY5jJcTyDzC2fmQgcxnGQcDNezSqRqx54HG04vlkfWlFfDqftv+JP4/Amkn6Xkg/pU6ftwa1/H4B08/S/f/AOJqwPtuivipP24dQ/j+H9qfpqLf/EVMn7cUv8fw8Q/TU/8A7XQB9n0V8bp+3HF/H8OXP01Uf/GqlX9uOx/i+HFx+Grr/wDGqAPsOivj9f24tM/i+Hd4Ppqq/wDxupF/bh0X+L4fagPpqSH/ANkoA+vK5T4lf8emif8AYZt/5NXzkv7cHh/+LwDqg+l9Gf8A2Wrvh79p7RPif4x8OeErPwtqGnTz6nHKJpbhHUBFYkYAzTRM/hZ9C0UUVwmIV5F+0d4c8TXk3hLxn4T07+1dQ8Lan9rewBw88TY3bfUjb0969do6GmnZjTseB/E3xT4m+I3wi8XaVZfDbxJpSf2ehja+jAknm81P3ccY5bAyc+1cZ498JeK9K8e6f4kl0rxPc6beeGrSxD6NZ29zNbSJGFeJ0mRgoJycjHXr1r6vyc9aKpTt0HzHy1faX4t8LeAfA2meH/DPidNFH2tr1v7OtrrVbVnfKJh1KRq3XgdPpWJYeB/FTfAJdFvfDGqm6fx/HcyWk9uDIbc/edlUbdvPJA2+nFfYGTS8+9HOPmILS1tbO3W3s7eG2gT7scSBFH0A4qaiioICoL/mxuB/0xf/ANBNT1BqP/IPuf8Ari//AKCaqPxIT2Pmvw9+2L4b8OaJZ+H5vBurTyadCtq8qXUYDlBtJAI6HFaA/be8Kd/BGtD/ALeYq9h+H3w0+Ht/4E0O8vfBegz3E1hFJLLJZIWdioJJOOSTW03wj+GDfe8B+Hj/ANuKf4V2z+JnRHZHgy/tu+EP4vBeuD/tvF/jUi/tt+Cz97wfro/7axf417i3wd+FjdfAPh7/AMAk/wAKjb4L/CdvvfD/AMP/APgGtSM8WX9tjwN/F4U18f8AAov8aev7a3gLv4Y8QD/v1/8AFV7E3wR+Ebdfh74f/wDAQVGfgX8Hz1+Hfh//AMBhQB5Kv7anw9/i8O+IR/wGP/4qnr+2l8OT10HxCP8AtnH/APFV6qfgR8Hj/wA070H/AMB//r0xvgH8G26/D3RPwjI/rQB5iv7aHw176N4iH/bGP/4upF/bO+GB+9pfiIf9u8f/AMXXor/s9/Blv+af6UPpvH/s1Qv+zp8F2/5kPTx9HkH/ALNQBwi/tl/Cs9bDxEP+3VP/AIupPht8QvC/xm+JGqahGupXVlpsEMukWt/GEhiccTOIwSGkDFDuOSAwxiuxf9mz4Kt/zI9qPpPKP/Zqq6z4B8M/C2LQNX8G6OmnWMGreVqKK7NmK6CwliWJOFcRH04NAHoFFFFABRRTJpYoYXmmkSKJFLO7sFVQOpJPQUAPorK8NeI9B8S2k154f1a01S3hlMMkttIHVXABK5HfkVq0AFFFFAHFfGK0tF8JXGtpHMmt2KgaTdWrbLiO4dgsaqw6hmIBU5BGcivU9NS6j062jvpVmulhQTyKuA7gDcQO2TmvOdehl1r4heFtAjYfZrWSTWb4eqw/LCv4yuD/AMAr06gAooooAKKKKACiiigAooooAKKKKACiiigAooooAKKKKACiiigAooooAKKKKACiiigAooooAKKKKACiiigAooooAKKKKACiiigAooooAKKKKACiiigAqK7t7e7t3t7qCKeFxh45UDKw9CDwalooAw9B8H+FtAtL600Xw/p1hbahIZbuGCBVSZiMZZenQVjXOj6p4XJn0FJdS0gEs+mM2ZYB6wMeo/6Zn8D2rtaKUoxkuWSug2d0c5o+qWOr2f2rT5xLGGKuMENGw6qynlWHoau1S8QeGFurw6vo1wNM1gDBmVcx3A7LMn8Y9+o7GqOla4z3w0jWbX+zNWx8sLNmO4A6tC/8Y9uo7ivKxGDdP3oar8V/Xc6ada+ktzboooriNwriviT4d8bavdafqHgnxuPDl1aq6Swz2YuLe5VsYLKejLjgj1rtaKcZOLuJq54QP2fpI/BkWlL4nFxq0/iWHX9Tvprbas8iE5REU/KOeK3Z/g6bx/ifHe60ot/HBQx+VCd9ptXAzk4bnB7cV61RWnt59yeRHI/CTw74i8KeC7XQvEniCDW7i0AignhtfJVIVUKiY7kAdT6111FFZt3dykrBRRRSGFZuu61Z6QkazeZNdTkrbWkC7pp29FX+ZPA7mqN1rV3qV5LpXheGO7uYyVuL2TP2a0PoSPvv/sD8SK2/Dfhuz0eSS7eSS+1Ocfv76fBkf/ZHZF9FHFejh8C371XRduv/AADnqV+kTLsPDd7rE8eoeLPLMaNvt9KjbdDH6GU/8tX/APHR2B610lzpmm3Lh7nT7SZwAu6SFWOPTkVbor0lZJJbHOZraBoLfe0XTT9bVP8ACmHw14cb72gaUfrZx/4Vq0UAY7eFfC7fe8N6OfrYx/8AxNRt4O8It97wtoh+thF/8TW5RQBz7eCPBjfe8JaCfrp8X/xNRnwD4Gbr4N8Pn/uHRf8AxNdJRQBzDfDvwC33vBfh4/8AcOi/+JqNvhr8PW+94H8On/uHRf8AxNdXRQByDfC/4cN97wL4cP8A3Dov8K5/xd4D8FaDPoWpaL4U0bTr1dXgVZ7azSNwCGyAQM816fXJ/Ev/AI9NE/7DNv8AyamtyZ/CyavNf2jvGmreCfh19r0Dy11jUL2HT7OSRcrE8h5fHsBx716VXFfGnwHH8RfAs/h/7abC7WZLmyugu7yZkOVJHp1Brija+pktzjpPAvjHwj4Y1rWbr4n67rX/ABI7w31reAFDN5LFXhI5j2t+lc38B/jFcW/hnwH4c8Q+G9eSLVl+xW2vXThormcE8DJ3EdBuNddp/h341appl9pXi7xD4XNjJpdxaBbK3fzLqR4iiPIzD5QCQTt61Qg+E3iCPwh8KtIN5p5n8Iaglzfne22RRniPjk898VenUq6L/jL4z3nhPWZU1j4d+IINCivVs21dnjEZLNtDhM5Kk9KTxl8bDofjDXPDGm+Btb1+60e2ju5pLNl2CFk3M7E/dwMcc5rzrxd+z7471jVtYZtS8M38d3qv2+HUr1Zjfqm8MIQ3KooHYV6nY/D3WIPiL478RNdWn2XxDosNhaoGO9JEj2kvxgDPpmi0QtExvD37QOm6vq3hxW8H6/Y6L4huBaWWrXKqInuD1QAEkgHjd+NcV4b+Kus+DfF3xRlufDXiLxLp1lrrSTTwSgw6fAMjHzHj/dHpXVW/wf8AEUfw8+GXh1r3TvtPhXWUvr1t7bJEDMSE45PPfFZ2s/Cf4ppd+O7fw74g8O22leMdQkkuUuInaWGFuNysBjcQWBH60/dDQ63xJ8bNNtrnSLHwr4d1PxXf6npq6otvZsqeTbN0Zy3frx7VT1H4/aLF4Z8K65p3h3VtT/4SOee1htINvnxXEWAYyvcliBkH3rm/GH7P97Hqehal4VXw7qh0/RotKuLTxBAzxSeX92VSvIbrW5a/CfXI3+G8oTw7Yt4b1O4vdQg06JoYGEmMCJcHJ45zilaIWieteGr+71TQbPUL/SrjSbqeIPLZTsDJA391iOCas6j/AMg+5/64v/6CanFQaj/yD7n/AK4v/wCgmph8SM3sWvhd/wAk48O/9g2D/wBAFdJXN/C7/knHh3/sGwf+gCukrtn8TOiOyCiiipGFFFFABRRRQAUUUUAFY/jXRI/EnhHVdCkbaL61eFX/ALjEfK31BwfwrYooA888A6tJrXg7TNQuCPtRh8q6A/hnjJSQf99q1btcr4fjj0P4h+KPDSgpFcSJrVop6bZsrKB9JUJP++K6qgAqlrmj6Zr+mS6RrFnHe2NwVE0EmdsgDAgHHUZA471drL8V6FZ+JfD93oeoS3cVtdKFke1mMUoAIPyuOR0oA8h/Y6hit/CvjCCCNIoo/FV2iIgwFACgADsK9yrz34a/B/wh8PdZm1Xw7JrCzTRvHIlzftLG24glip43fKOetehUAFFFYvjnWf8AhH/CGqawqGSW3t2MEY6ySn5Y1HuWKigBnwphTVPEfinxdv8AMSe7XS7M9hBbZDEfWVpP++RXodYXw/0NfDfgvSdEUfPa2yrKf70pGXb8WLH8a3aACiiigAooooAKKKKACiiigAooooAKKKKACiiigAooooAKKKKACiiigAooooAKKKKACiiigAooooAKKKKACiiigAooooAKKKKACiiigAooooAKKKKACiiigAooooAKoa7o+na3Ymz1K3WaPO5Gzh427MrDlWHqKv0U07A1c4aWfVvCreXrLS6lo2cJqSpmW3HpOo6j/poB9QOtdBBLFPAk8EiSxSKGR0YFWB6EEda2GAZSrAEHgg965C+8N3uizSX/AIT2eU7b7jSZG2wyepiP/LJ/b7p9B1rir4ONT3oaP8P+B+RpCq46PVG1RWboWtWerxyCDzIbmAhbm1mXZNA3oy/yPQ9jWlXlSjKD5ZKzOtNNXQUUUVIwoorI1rXYrG5j0+1t5NR1WYZisoCN2P77noif7R/DNXTpyqS5Yq7JlJRV2X9SvrPTbKS8v7mO3t4x80jnAHt7n2rGgtNX8WfNcLc6NoR/5Z/cu7se/eJD6fePtV7RvDE0l7FrHiaeO/1BOYIEB+zWn+4p+83+2efTFdTXr0MLCjq9ZfgvT/M5J1JT8kV9NsbPTbKKysLaK2tohhI41woFWKKK6SAooooAKKKKACiiigAooooAKKKKACuT+Jf/AB6aJ/2Gbf8Ak1dZXKfE/EejWF452xWuqW0sjHoq79pJ9vmpx3In8LJaKO9FcJkFFFFABRRRQAUUUUAFFFFABVfUf+Qfc/8AXF//AEE1Yqjr9wlroV/cyHCxW0jH8FNVD4kJ7Gh8Lv8AknHh3/sGwf8AoArpKxfAlnJp/gvRbGUESQWMKMD2IQZrartl8TOiOyCiiipGFFFFABRRRQAUUUUAFFFFAHnvxVRtL8R+FvFSRjy4rttLvW9IbnAVj7CVY/8Avo1uVZ+IGht4l8FatoccgimurZlgk/55yjmNvwYKfwrnPBWtDXPCemarKyJPcW6mdNw+SUfLIv4MGFAG1RTfMj/56J/30KPMj/56J/30KAHUU3zI/wDnon/fQo8yP/non/fQoAdXLeKI5NY8a+FfDUY3Qm6bVb3uPKt8FAfrK0f/AHya6fzI/wDnon/fQrE+GUS6t4z8U+KfMEkSSpo9kR0CQfNKR9ZXYf8AAKAPQ6KKKACiiigAooooAKKKKACiiigAooooAKKKKACiiigAooooAKKKKACiiigAooooAKKKKACiiigAooooAKKKKACiiigAooooAKKKKACiiigAooooAKKKKACiiigAooooAKKKKACiiigDD8SeG7TWJI7yOWSw1OAfuL6DiRf9luzp6qePpWNaa1d6fex6T4ohjtLqQhbe7jz9muz6KT9x/wDYb8Ca7Wq+pWNnqVlJZX9tFc28ow8ci5BrOrShVVp/eOMnB3iUaRiFUsxAAGST0Arnri11rwmC1ul3rmiDAES/PeWo9s/61Pr8w96fbaJqfiZluPEaPY6Xw0elK/zy+9ww6/7g49c1wRy+fNZvTv8A8A3eIVttRi6lqXiOZrXwwRFZg7ZtXkTMY55WFT/rG/2vuj36V0nhzQdP0K2aKzR3llO6e5mbfNO3952PJ/kO1aMMUUMKQwxpHGgCoiLhVA6AAdKfXowhGnHlgtDnbcneQUUUVQBRRRQAUUUUAFFFFABRRRQAUUUUAFFFFABVTWNPtdW0u5029jElvcxmORfY/wBat0U07aged6bqE+k3SeH/ABFIIr1Pktbp+I75B0ZT034+8vXPI4rerd1LT7HUrRrTULSC6gbrHKgZT+Brmn+H2iBj9ku9bsU/5522pzKg+g3HFRKlCTvexi4SWxY5o5qt/wAK/wBP/wCg74m/8G0v+NH/AAr/AE//AKD3if8A8G0v+NT7CP8AN+AuWXYs80c1W/4V/p//AEHvE/8A4Npf8aP+Ff6f/wBB7xP/AODaX/Gj2Ef5vwDll2LPNHNVv+Ff6f8A9B7xP/4Npf8AGj/hX+n/APQe8T/+DaX/ABo9hH+b8A5ZdizzRzVb/hX+n/8AQe8T/wDg2l/xo/4V/p//AEHvE/8A4Npf8aPYR/m/AOWXYsOyohd2CqBkknAArBgU+NL+K0swW0CCUSXl2OEumU5EMf8AeXIBZunGOcmtq28AeHkkEl4t/qhHRb+9knT/AL5Y7T+IrqYY44YlihjSONRhVUYCj0A7VcIRg7p3Y1Tb3HUUUUzYKKKKACiiigAooooAKKKKACiiigArlrr4c+A7q5lubjwfoks0zmSR2s0JdicknjqTXU0UAcl/wrP4e/8AQl6F/wCASf4Uf8Kz+Hv/AEJehf8AgEn+FdbRQByX/Cs/h7/0Jehf+ASf4Uf8Kz+Hv/Ql6F/4BJ/hXW0UAcl/wrP4e/8AQl6F/wCASf4V0OjaXpui6dHp2k2NtY2cWfLgt4wiLk5OAOOSSa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B//Z">
            <a:extLst>
              <a:ext uri="{FF2B5EF4-FFF2-40B4-BE49-F238E27FC236}">
                <a16:creationId xmlns:a16="http://schemas.microsoft.com/office/drawing/2014/main" id="{E0A3E4E5-9F64-409E-8379-0E70B0AC031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" name="AutoShape 8" descr="data:image/jpg;base64,%20/9j/4AAQSkZJRgABAQEAYABgAAD/2wBDAAUDBAQEAwUEBAQFBQUGBwwIBwcHBw8LCwkMEQ8SEhEPERETFhwXExQaFRERGCEYGh0dHx8fExciJCIeJBweHx7/2wBDAQUFBQcGBw4ICA4eFBEUHh4eHh4eHh4eHh4eHh4eHh4eHh4eHh4eHh4eHh4eHh4eHh4eHh4eHh4eHh4eHh4eHh7/wAARCAFKA0Q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82+MXxUh+HuqaLZf2RLqQvH86/dJNosbMOkbTtxzhpFGPrzQB6TRWbruv6HoVil9rWr2OnWrkKkt1OsasT0AJPNV9U8XeFtLs7S81LxFpVpbXoBtZZrtEWYHuhJ+YfSgDaorJ13xN4c0FYG1rXdN00XB/c/arlI/M/3dx5rB8WfFDwd4X8U6N4e1jVra3n1aKSaKVpkWKJFXIZyWGA3RSAckGgDtKKRSGUMpBBGQR3paACiiigAooooAKKKKACiiigAorn/AIj+Iz4Q8B614nFp9rOmWj3Ag37fM2jpnnFZfgzxB4vvLc6l4u0PRNE0o2q3CXEOqGUjIBwwZFCjB65oA7SiueTxdoup+H9T1LwzrGkau1jC7ny75PKVwpIEjjOwcdT0HNY+meN7ufxfoWh3drYRxaj4ffVp54bnzUjZWjG1H6MmHJ3ewoA7mis4a9opsbG+GrWJtb90js5vPXZcO33VQ5wxPYDrULeJ/Da6tHpDa9pg1GSVoUtTdJ5rSKASoXOcgEHHvQBr0VkWHijw3f6zNo1jr+mXOpQ5821iukaVMdcqDnirup6lp2lxRy6lfW1nHJIIkeeUIGc5IUE9+Dx7UAWqK5z/AITzwT/Zf9qf8JdoX2HzvI+0fb4/L8z+5uzjPtWlrOvaJo2mDU9X1ewsLE4xcXFwscZz0wxODmgDRorOt9d0W40Q65b6vYS6WELm8S4UwhR1O/OMfjXL6F8Q7HXfiWPDei3Gnajph0X+0Rf2twJMuJvLKfLxjHPrQB3NFZGl+KPDeq6pPpema/pl7fW+fOt4LpHkTHXKg5rXoAKKKKACiiigAoorz7xp408T2PxDtPBvhbw7p+qXU2ltqUkt5fm3VEEvl7RhGyc0Aeg0Vzcni3TdF02xPjTVNF0HUrhAXt5L9dobPRWbaWHvgVJqWvXNv4r0rS7dNNls720nuGke9Cz/ACBSvlxYzIp3csDxx60AdBRXHfDLxvB4o8G6Dq+pNZ6ff6wsxgtBNy5jdgwQHlsBcn0rem8QaFCt60usWEa2EqxXha4UC3dsbVfn5SdwwD6igDTorDPjDwmNJn1c+JNI/s+CYwS3X2xPKSQdULZxu9utaelajYarYRX+mXtve2kozHNBIHRh7EcGgCzRXnWreP8AXb3xdqXhvwJ4Xh12XR9q6pd3V8LWCGVl3CFTtYu+0gnjAyMmuh/4TDTdM0Gxv/GNxY+F7q5X57W+vYwUfPKhs4b6j1oA6SiqQ1bSy9ig1G0LagCbMCZT9owu47OfmwvPHamSa5o0a6g0mrWSLppAvi06gWxKhh5nPy8EHnsaANCisiw8T+G7/RZdbs9e0240yIkSXcdyhhQjrls4FT6Drmja/ZG90PVbLUrYMVMtrOsihvQlT1oA0KKKKACiiigAooooAKKKhv5/stjcXW3d5MTSbc9cDOKAJqK88+BPxLHxL8Ly6lc6V/Y9/A0ZlszN5mIpY1kikBwMhkb06gjtVT4b/FmDxp8QPE3h6HSvsunaPGJbfUXmBW7QSPG7hcfKoeN8HPOKAPTqKxtF8U+HNdluYdD17S9Tnth+9jtrpJCn+9tJwPes/QPGNjJ4X0/VfEmoaHpc94krqsepJLCwQnJSQ4DYABOOlAHU0VxnjH4neDvDPgSTxnNq9rfaUHEcT2c8cnnuWxtQ7gCRySM9Aa1v+Ey8Jjw/H4gbxHpSaVI21LxrtBEzdMBs4Jz2oA3aKzT4g0IabbakdZ08WV0wW3uPtCeXKSCQFbOCcA/kabo3iTw/rVhNqGka3p1/aQErNPb3KOkZHUMQcD8aANSisfQ/FPhrXRc/2Lr+maj9l/1/2a6STyv97B4pmneL/Cmo6lDpun+JNIur2aITRW8N5G8joRncFByRigDborJvfE/hyx1qHRLzXtMt9Tnx5VpLdIsz56YQnJpL7xR4bsdZh0W91/TLbUpseXaS3SLK+emFJzzQBr0VmeKJ9cttIeXw7p9nqGoBl2QXVyYIyM8kuFbHHtXnngH4ieMtfvdSm1bwzoOkaPpGpTafqV42sEmJ4lBZlBjAK/MvJI70AerUVlaH4l8Pa5ZzXmja5p2oW0BImltrlJFjOM/MQeOPWuX8c/ErSNM+Hes+KfC9/pevPpjQo8cN0HQM8qJhihOOGJ/CgDvaKpQarps2pyaVHfWzajFCs8tqsoMsaNwGK9QCehq7QAUUUUAFFFFABRRRQAUVwXxf8W+LPBmiXviDSPDmm6rpOn2T3V28+oNBKNmSVVQjA8D1FO8O+N7230VdW+ISeHvC9tcpG9k39rB/NDLk53qmCMjpnrQB3dFZV/4k8P6fosetX2uadbaZKAY7uS5RYnB6YYnBz7Vi3njOP/hNfC2j6b9kvdP122u7gXkcu4AQqhXaRwQdx/KgDr6Kp6Rqmm6vaG70q/tr63DtH5tvKHTcpwwyOMg8GvPPAvjvxx4uvZ7qw8JaTHoUGqz2ElzJqrCfbDIUZxH5eM8ZA3UAen0Vj2/inw1casukwa/pcuoO0irapdIZS0f+sG3Ocrg59MUuj+KPDes309hpOvaZf3dv/robe6SR4+3IByKANeisOXxj4Tj1K402TxNo6XtsVE9ubyMSRliAAy5yMkgfUitBNU02S4vbdL+2aaxCm7jEoLQAruG8fw5HPPagC5RWRfeJ/DljokOt3mvabb6ZOqtDdyXKLFIG5BVicHPtUj+INBTTrbUm1nT1srpgtvcG5QRysQSArZwTgH8jQBp0Vm6F4g0PXrKS90TWLDUraNikktrcLIiMOoJU8GqVp428H3cM81r4p0WeO3lSGZo72NhHI7bVViDwSxwPU0Ab9FVZtS0+HU4NMlvbdL64RpIbdpAJJFXG5lXqQMjJ96tUAFFFFABRRRQAUUUUAFFFFABRRRQAV4FNovi74heKviDqlha6E2jXkTeGbf8AtUTK/kxKfNeMKPutK7HPcoPSvfaAABwAKAPmNtUju/Afg7VfEuvyaD4y8MC803fe6W95aXMsWIpEkUL1dVQqwIY5OM1a8Y62E0/w347nSHw94vPh3YPD15o8lzaXsbPv+zphcxyFlGMHcAwyMV9I7F/ur1z070FVJGQDjpx0oA+ZvF51KL4rajrHirWovCNpq+hWK2IvNDXUIlHlnz7YORiNhISSv8WQe1XbnT9E8FyfCDVLy8uNT8O6dBfWkmpz6c+797HmEPHtLIMgqoI44r6MZVYYZQR7ilIDDBAI96AERlZFZfukZHHaloooAKKKKACiiigAooooAKKKKAOC/aHjkm+B/jGKKN5HbSpgqopLE47AVzWuaRc+C/g5fa3ZTa14mnOm24NhrE73tvGCU3P5OMnYCWwOSFxXsRAIwRkUUAfLnhiWXUPF3j+6t9ZGv283gV41vbbRTYQyOGk+RVAxIRnGeTzjtXV+E7C6uPEHge3WCRWf4cyQZZCArnyAAfQ+1e7hVAwFAGMdKAo44HHA4oA+WtI8QWV74F+E/g2C11M61ofiCxj1SBrCVRZmMuh8xiu0ZJGME5HNeheDPDaz6n8W9SsdNiTxBc6tPDZXkkeJARaR+VtYjgBmPI7k17HtXJ+UcnPSlAAzgAZ60AfLHwk0mwvJPAml6l42a11jRLmOU6MnhnyLqK4VGWRJJgMlTlsuThuDXrH7Q+l2+s6b4P0+8she2kviywFxCyFlZPnzuH931zxXp21dxbaMnqcc0EA4yM80AeIWHg/QJfjv8QWl8N2TQHw9ZrGGtB5eXWUPtGNuSFUHHPArkPCVxb6Tpnwi8ReOrO4m8O2nh65tRLNaPNHZ3paMRPIoBK/uldQxHH419P4Gc4GaQqpXaVG30xxQB8uapp32rwv4p8Rafot4fAV34x0/UDYpaOn2iyjCi6lWDAby2kAbGPmCk45rXBsPEnxN8Xaj8NtPkt/t/gWe2tL6Kza2iubsOQpQsBkrlRux274r6N7Y7UgVVxhQPoKAPmT4RabpOoax4Ghk8bFNS0Mhk0eLwz9kuIXERWSKaQDheuSeGIB5r6cpAqhiwUAnqcUtABRRRQAUUUUAFePeM/Dr+IP2jdPjbUdb0yKPwrIftGm3LQMW+1D5S4HI74r2GjAznAz60AfPfxf1CbS/Edz4Xn1CPS7aLQUFvqV5oh1S81hmMgaAORjK4GR1JfPSovhpb3n9qfBhpoLgNF4NvUkLo2UbZAAGz0PHQ19EEAkEgEjp7UBV4+UcdOOlAHzL4YlXw34S+DfizWIbqDStLn1GC+mFu7m2MwkWNnVQSFJGM47iqOrvH4l8G/GW9t7C+ax1PX9OaFZrV4nmixApYKQGwQDz6V9UbV27dox6Y4oKqc/KOevFAHgvx20RtE8XeB76wmg8O+GLBLqKW5j0hby3tbhkQRM8OMDKqyiQj5fbNdd+z5penWGi63eaX4mfX4dR1R7l5V042cKSFFDCKPGNpwCSOCc+9emkAjBAI9KAABgAAUAeH+FPEWnfC7x7450zxp9qsLfWdYbV9Mv/ALLJLDcxyRopTcinDqykbTz0xVb4l+NUv/E+iPF5Ph3Sr/SJJ4dY1Dw493cTt5m37IsbD5CR8+Dy2RgV7wyqw+ZQfqKCAcZAODkZoA+Z/CFwfDXw9+DHibW4b2HTdIur6K+l+yOWthLHNHGzoASi5wOnGRUkT6B4os/ivf6tPq+kaPf69p81tff2dIWQpBCY5miKktFuQE7hgg84r6UKqV2lQR6Yo2jngc9eOtAHy74p1HxN4q+GlrdNHB/ZejeLoDc6tp+jMYb60RM/ajaN99VdgGHIO3I4FeifAmx0ybxV4i8Raf42XxHLeW9tDcrb6P8AYbdShfY3A2u+CQSOQMZ7V6+AAMAAD0pFVVGFUAegFAC0UUUAFFFFABRRRQAVT10E6HfgAkm2kwB/umrlFAHylbL4m8F+BPAGv+FtMupr7xT4UtfDlwiIf9Hu/LBtrhx22hpAc+1dTZ6PL4H8Z+L7HR9BOsR6V8P7OG3tGiJS9kR59yHj5ixySOp3e9fQe1cAYGB0pcDOcDPrQB80/C7UJNW+M/hy+i1qDVV/4R+9WcWWgGwgs2PkkQbsfOQQflPK496b4N0ODUtK+BtpqulfabeG41OWSKeElUYK5QsCMdcEZ719LhVHRQPwoCrx8o46cdKAPm3x5oL/APCEfGvTtM0ljCmqW13BbQ25Iz5MDytGoHU4Ynb71J8TNRtNV8V+BvF+ka0uleE47G7gTUm0Q3VvbXRKffiYDYWUMocjsRnmvo/A54HPWk2rt27Rt9McUAfOD+F9Hn8BeHbKHUz4p0vU/H0N3Of7NNrAAwO9EixgR7hnj5SWNa/iGKTwz49+KV5ofhaHUE/4RmxnXThbfuLqQGZTlFGGwoGQOSBiveNq4AwMDpx0pcDOcDPrQB80fDi8k1L4vi8g1yLW4T4Ru45JrPQjYW8T+ZERCDj94Rz15X8TU/hbwzp2n/Bz4RX1nokdtqKa/YTSzJb7ZgZGcSFmxuwQcHPGMV9HhVHRQPwo2rgDaMDpxQB4H4Vv/CGi+KvGOh+PNFkuvEWo+JXuLYSaW9w15AxT7M0TBSNqAeo24J4ri9V0eObU/HHhrxh4z/4R+41TXbmYQSeG/tM9zAzg28kNwAWbCBAMfcK4r6w2rkNtGR0OKCqkhioJHQ46UAQ6fGYbC3haV5ikSqZHGGfA6n3NeBRX+o6D8NPiZf2+gxalJ/wmdwfKu7Rp4kjZoAZzGBmRUGXwOu2voSkwADwOaAPmPwnHpus+IPiH/a2vXesaHe+F4IbnUtO0NrION8obykUHzCoP3gD6dqi1nVtQ1b4MeOtBtZLTW7Cwh09LLXbHSmtTdEzpmNo8YZ4woJK/L83QHNfUIVV+6oH0FG1du3aNvpjigDyX4Ewv4f17xH4V8Q2jt4rNwb6fV3Qn+2bdziOYN0XaPkMY4XHAwa9bpMDO7Az60tABRRRQAUUUUAFFFFAHCftCRyTfA7xpFDG8kjaNchURSSTsPAA61w3xG1y40uTwVp8z2Oh2c2jF21260Y37RyKsYFqi4wrODnnrtwK90IBGCMikKqQAVBA9qAPlzw5a6bH8FvCF9q3iCfw/qGm61qU+mXV3ozSW5YzSqUmgxiMMjfKOCP4at+NYPGXj7R/AUmm2f9gazd6TquYIYmhikUbP3eThoVmUcHhlD19MFVIwVBHpilwM5wM0Acl8INU0XVfh/pr6FpLaLbWyG1fTWiMbWcsfyvER3IPfv17159+z34SaTT9R1ubWfElo6eJdRcWKXrR2rgXD4zFjBB/WvbgAM4AGaAAOgAoA+fvDvhW4ufhb8V59C0oJ4lv9a1lLecR7Z3O5lUIx5GVJAxxz71mfCTTtL1TxL4Okh8dh9S0W2kEWkweGvsUkWYdjxTuBwAecN1IBFfSgAHQAUgVQSQoBPU460AfH93d+Frb4NaR4XvtDnXxvYeI7d9QZ9NcSwzG/XfO8xXG11IAO47twH09I1rxBY+D/AIlfE211q31FZvEFjayaSsFlJN9sK2zRMiFQQWDdQcYBzXr3jPwzpvizRf7J1Qzrb/aILgmFwrF4ZFkTnB43KM+1bZAJBwMjoaAPlV7TUtP0T4R6tqGqNoOkWvhc2xvZ9I+3RWt2yx4Dxn/VlkDAOfQjvWyfCujS+BfCthBqR8U6VqPj+K7nZtNNtBhw5dVixgRbhn+6cmvpAqpXaVBHpjijauAMDA6cdKAPnf4i+HtR/t/4u6b4R02WCa98Mae8cNmnliZw0ocLjA3mNdvHPSt60tvhx8S/Aep+GPCemrbXp0RYfPTTHtzaspBjjZ2QfOsiqdvJGCa9rwM5wM+tNeMNG6KSm4H5l4IJ7/WgDxP9njUNR8eeINQ+IWsW0kEllYQ+H7eOUcrNF814w+suBn0Svbqw/AvhfS/Bvhm30DSPPa2hZ3Mk775ZXdy7u7YGWLMSeK3KACiiigAooooAKKKKACjvRRQAUUUUAFFFFABRRRQAUUUUAFFFFABRRRQAUUUUAFFFFABRRRQAUUUUAFFFFABRRRQAUUUUAFFFFABRRRQAUUUUAFFFFABRRRQAUUUUAFFFFABRRWN4k8R2Oi+XAyyXd/PkW1lAN0sp9cfwr6scAU0gbNS7uLe0t3uLqeKCFBl5JGCqo9yelSRusiB0YMrDKsDkEetcRFot5rNwmoeLGiuCpDQaah3W1ufU5/1r/wC0eB2FJHY6p4YkM3h1TeaZnMmku+NnPJgY/d/3Dwe2KwWJoufJza/gVyTS5rHc0Vm+H9c07XbM3GnzFtjbJYnXbJC/dXU8qfrWlW7TW5NwooopAFFFFABRRRQAUUUUAFFFFABRRRQAUUUUAFFFNkdY42kkYKigszE4AA70AOrNvPEGhWUhjvNa063cdVluUUj8Ca42e5vvGTNcSXFxZ+HiSLe3iYxyXq/89JGHIQ9lGMjk+lXrHRdHsYhFZ6XZQIOgWFf54yaUpwg7PcydR9Dc/wCEs8Lf9DJo/wD4Gx/40f8ACWeFv+hk0f8A8DY/8azPsdn/AM+lv/36X/Cj7HZ/8+lv/wB+l/wqfbQ7MXPI0/8AhLPC3/QyaP8A+Bsf+NH/AAlnhb/oZNH/APA2P/Gsz7HZ/wDPpb/9+l/wo+x2f/Ppb/8Afpf8KPbQ7MOeRp/8JZ4W/wChk0f/AMDY/wDGj/hLPC3/AEMmj/8AgbH/AI1mfY7P/n0t/wDv0v8AhR9js/8An0t/+/S/4Ue2h2Yc8jT/AOEs8Lf9DJo//gbH/jR/wlnhb/oZNH/8DY/8azPsdn/z6W//AH6X/Cj7HZ/8+lv/AN+l/wAKPbQ7MOeR0Gn6vpWoNtsNTsrs4ziGdXP6GrtcJqHh7RL/AAbjTLcSKcpLGvlyIfVXXBB/GpdB1bUNE1W30fWrp76xu28uxv5MeYknUQynuSM7W74weetxlGfw7jVTXU7aiiig1CiiigAooooAKKKKACiiigAooooAKKKKACiiigAooooAKKKKACiiigAooooAKKKKACiiigAooooAKKKKACiiigAooooAKKKKACiiigAooooAKKKKACiiigAooooAKKKKACiiigAooooAKKKKACiiigAooooAKKKKACiiigAooooAKKKKACiiigAoJwM1R1vVtP0Wwe+1K5S3hXgE8lmPRVA5Zj2A5rlJ49X8V5OprNpWiH7tirbbi6X1mYfcX/YHPqe1TOcaceabsgSbdkWtS8TXeqXEmm+E1jlKMUuNTkGbeA9wn/PV/YcDue1S6FolppRlmVpbm+uMG5vJzummI9T2HoowB6VoWtvBa28dtbQxwwxqFSNFCqo9ABUleTiMXKr7q0j/AFudVOio6vcKKKK5DYxtZ0Jbq7XVNOuX03V41CpdxDO9Qc7JF6OvseR2IqxofihmvU0fxDbppuqNkRENmC6A7xOe/wDsH5h79a0aq6rp9lqlk9lqFulxA/VWHQ9iD1BHqORXdh8a4LlnqvxX9djCpRvrHc6CiuJg1DV/Cnyag1xrGhjpcgb7q0Ho4HMiD+8PmHcHrXX2N5a31nFeWVxFcW8q7o5I2DKw9iK9SLUlzRd0c2qdmT0UUUwCiiigAooooAKKKKACiiigAooooAK5b4nsz+GBp6O0f9o3UNmzKcEI7jfj/gIYfjXU1ynxL/49NE/7DNv/ACaqi7O5E/hY9I0jjWONQiKAqqOgA6ClFLRXAZBRRRQAUUUUAFFFFABRRRQAVl+LLNb7w5fwY+cQtJE3dZE+ZGHuGANalQah/wAeFz/1xf8A9BNXTbU00J7G74av/wC1PD2nan3urWOY49WUE1oVznwv/wCSc+Hf+wdB/wCgCujrrluzoWwUUUUhhRRRQAUUUUAFFFFABRRRQAUUVHdXFvaW0lzdTRwQRKXkkkYKqKOpJPAFAElcZ4x8dR6dqDeH/Dtn/bniMpu+yo+2K1U9HuJOka+3LHsO9Yl94o1vxwzWvhCWXSfD5ysuutHia5GeVtUYcA/89WGP7oPWtbw5oWl+HtP+w6TaiGIsZJGLFpJnPV3c8ux7kmgDKsfGPiPwpJt+IAtr3S5SCNa0+ApHasx+5PFyVQZwJBkY+9jrXpNtNDcwR3FvNHNDIoZJI2DKwPQgjgiucZVZSrKGUjBBGQR6GuRi0nWvBc733ghFutMZi9z4fmk2x8nJa2c/6puvyH5D/s9aAPVaKw/B3irR/FVi9xpkzrNC3l3VpOhjuLaTukiHlT+h6gkVuUAFFFFABRRRQAUUUUAFFFFABRRRQAUUUUAFFFFABRRRQAUUUUAFFFFABRRRQAUUUUAFFFFABRRRQAUUUUAFFFFABRRRQAUUUUAFFFFABRRRQAUUUUAFFFFABRRRQAUUUy4mit4XmnkSKJAWd3bCqPUk0APrnfEXidLK6/srSrY6nrDLkW6NhIR/elfoi/qewrMuda1TxOTB4deTT9KyRJqjJiSYdxAp7f8ATQ8egPWtLRdKsNHtDbWMHlqzF5GJLPIx6s7HlifU1z18TCjpu/63/wAi4U3P0KGmaHJ/aA1jXboanqoz5blcQ2wPVYk/h/3jlj69q3KKK8epVlUlzSZ1xgoqyCiiioKCiiigAooooAK5+40a80q8k1TwtJHBLIS9xp8hxbXR9f8Apm/+0OPUGugorWjXnRd4sicFNakfhvxHZ60ZLfy5LPUYP+Piyn4ljPr/ALS+jDINbVctrui2mrCKSRpLe8gyba7gbbNCfVT6eoOQe4qGw8SXmkTx6d4s8tA7BLfVI12wTHsJB/yyf6/Kex7V7NCvCv8ADo+3+RyTg4b7HX0UAggEcg0VqSFFFFABRRRQAUUUUAFFFFABXKfEv/j00T/sM2/8mrq65T4l/wDHpon/AGGbf+TU0RU+FktFFFcJkFIzKqszsqqoyWY4AHqTS14h+1LLcalqXgLwNJqE1ho/iPWPJ1OSJ9hkjXbiMt2BJ/lTSuxpXPX5Nc0WPT59Rk1jT1srf/XXH2lPLj/3mzgfjV2GSOaFJoZFkjdQyOpyGB6EHuK8F+OPwy8F+B/gl401Dwto/wDZclxpsdvMkcrlHUTIQSpJ+b3rG8X/ABi8QaFfaN4M8M3Wj6U1l4ftbq6vdSs57kSu0SlYkSJWI4x8x4qlG+w7XPpaivANR+Lviq++GPhjxHa6l4Z8KX2omdLyPVreeV3eNto8iFFLsDySccZFZifHLxlc/A+z8WWdppL64vidNFmHlMLe4U5+ZVPKZ469PSjkYcrPpKisTwTH4oj8Owr4yuNMuNY3MZn09GSHaT8oAbnIGAT3rbqCQqvqP/IPuf8Ari//AKCasVX1H/kH3P8A1xf/ANBNVD4kJ7Fv4Yf8k58O/wDYOg/9AFdHXOfDD/knPh3/ALB0H/oAro67Z/EzojsgoooqRhRRRQAUUUUAFFFFABRRXD+L/Gl5HrE3hbwjYrf65GiNdTT5W009XGVaVurMRyI15Pcgc0AbXjLxZo/hW0il1KSSS4uG8u0srdPMuLp/7saDk+54A7kVxD6PrPjG6j1HxyqQ2CMHtfD0Um+FCDlXuGH+uf8A2fuD0J5q/wCGvDEGl3kur393Nq+vXC7bjUrkDeVznZGo4jjHZF/HJ5roKAEACgKoAAGAAMACloooAKKKKAOe8SeGItSvY9Z0y8l0bX4F2walbqCxXOfLlU8Sxn+634EHmrvhfx1KNTh8OeMrWLSNakJW2lRibTUMd4XPRvWNvmHbcOa1Kpa5pOm65pkumatZxXlpKPnjkGRnsR3BHYjkUAdnRXllvrevfD2Nv7Ylu9f8KRgn7aRvvdOT/pqOs0Y/vj5wOoPWvTrS4gu7SG6tpVlgmRZI3U5DKRkEfUUAS0UUUAFFFFABRRRQAUUUUAFFFFABRRRQAUUUUAFFFFABRRRQAUUUUAFFFFABRRRQAUUUUAFFFFABRRRQAUUUUAFFFFABRRRQAUUUUAFFFFABRRWR4l8T+HfDVq114g1zTtLhA3Frq4WPj2yeaANeivnnxx+138LdCEsWjNf+IrlMhRaw+XET/vvjj3ANeNav+1L8Y/HUzad8PfCa2JclQ1naveTjP+0RtB/4DQB9peLfE2keGLBbrVbkRmQ7YYgR5kzeij+Z6Dua43w/eWnxBabUL3VtP1CytJ/L/suxuVmghkGCPOdeJHxg4+6PfrXyvB+z7+0F8ULyHUPH2uNZR4JVtTvDI8YPULEmQv04r3H4G/DZfgONT03VNWub6w1WaNo9Q8sLbRuoIw45MbHOMklTgcis6/P7N+z3/H5Dhy83vbHtYAAAUAAcADtS0gIZQykEEZBHQilrwDvCsP4g6ldaP4D1/VrF1S7stNuLiBmUMFdIyykg8HkdK3KwfiJp93q3gDxDpdhF5t3d6ZcQQR5A3O0bBRk8Dk1ULcyuJ7GB8JvGE2qfBHRfGviu+gjkk037Xf3JURooGdzYHA4HaqvgT41+A/GWurouk3WoRXksD3FsLyyeBbqNRlmjLD5hjmvMPDPhv4pa18DZvg/rXgM6DCujtbw6w+qRSK8yMHRWjXJAYjaTk4Gah+FPw98cQeKtDutf8G6tZXehWM0Vnqd94nF3bxS+UVXy4AMhC2OM4Aro9lD3m3+KM+aWh6X4e+PHw/1zxJZ6DbSavb3F/IYrKW702SGK5cfwozDkntV5PjJ4Jf4ey+OBcXv9mRX39nvH9mP2gXG8J5fl9c5IP0rwvRPh/wDGrUvGHg6+8WaPqtw+j67HdX17c69HNA6Bj88NuMCMAemSfSuhm+EfjBvjlLYLYJ/wrqfxEniWWYSrzOsZPlbM5/1h9MVTpUr7/iJTkekeK/jr8PPDPiCfRNSvb9p7Uot7Lb2MksNmzYwsrqMKeeR2qz4u+M3gbw14gh0O6ub+9u5IIrhv7PsnuEhik+47svABBB+hrxPxX8KPH1j4v8Z29v4X1bxJoniO/ku0ax8TLYQlX6pPEQd2On0FanxJ+H/xCHiTTG+H/gyfSNRs7GztIPENrryohjRFDRXELD96FIIBxyAOvSj2VLTX8UHNI+nAQQCOhGRS1HaiZbaJbhleYIokZRgFscke2c1JXGbBUdzBDc28lvcQxzQyKVeN1DKwPYg9akqO5nhtreS4uZo4YY13PI7BVUepJ6U1e+gnbqYEEWr+FTu0lZtU0UH5tPZt09svrCx+8v8AsH8D2rlfG37Snwu8Iawmlarf6g9w0KzHyLNnCg5+VuhVgQcqRkV1UEur+Kzt0tp9K0U/ev2XbPcj0hU/dU/3z+A71j+J/wBn/wCE/iS/W/1jwstxdCMRmUXUqswGeWwwy2Sck8mvoKXtOT978X9b+f8ATOCXLze5t/WxyQ/a7+DR63+sD66c3+NPX9rj4MH/AJimqj66dJWi/wCy18E2/wCZUkX6X83/AMVUT/sqfBVv+Zcul+l/L/8AFVQFdf2tPguf+YzqQ+unSf4U9f2sPgqf+Y9fD66dL/hSN+yd8F2/5gd+v01CT/Gom/ZI+DDf8wrVB9NRegC0v7VnwUP/ADMl0Prp03/xNPX9qj4Jt/zNE4+unz//ABNZrfsh/Bo9LHWV+mot/hSL+yD8Gwcm01th6HUT/hQBsL+1F8E2/wCZtYfWxm/+JqVf2nPgo3/M4oPrZzf/ABFYEn7IHwdZSFt9cjPquoHj8xULfsd/CMnKtr49vtw/+JoA6pf2lvgo3/M7W4+ttN/8RVLVPjN8NPGmp6BofhnxVbahqMmrQukCxSKSqhiT8ygcCubl/Y2+FLfduvEMf0u1P80qKz/Zu8DfDfxT4e8VaFfazLew6pHGqXMyNHh1YHgKD+tNEz+Fnt1FFFcJiFcn8UPAOg/ETw8uj66s8fkyie1urd9k1tKOjo1dZXLfEL4geE/AVnBc+JtUW1Nw223gRGkmmPfai8n69KavfQaOOPwShuvDmtaTrfjzxTrcmq2a2X2i9nD/AGeIOr/InTJKjJPNWfFHwa0/VNT0/WNH8T674b1e00+PT5LzTpFBuoYwAokUjBIx1rofh18SvCfj6W8g8O3dy9zZBWuLe5tXglRWztO1hyDg9K7HB9DT5pId2eVa/wDBez1W08POvjPxNa6xoSSxw6us6vcypKcuHJGPpjoKgtvgToNv4HXwmmuarJbL4gXXfPl2vKZV/gJ7g9z1r0/XNV03QtLn1TWb6DT7G3AM1xcPsSME4GT25IFWbeSO4hjmhYSRyoHjZeQykZBHsRRzMLsfRQetFSSFQX+PsNxnp5L/APoJqeoNQ/5B9z/1xf8A9BNVH4kJ7Hx9pvhT9rSbT4Ljw/q2qrpEiBrFU1SFQsJ+4AC2Rxjipz4X/bNTpqmtH/uJwH+tfYfwu/5Jx4d/7BsH/oArpK7Z/Ezojsj4W/sL9tBP+Yhrp/7frc/1pP7M/bRT/l515v8At6tj/WvuqipGfCht/wBtJP49fP8A21tj/Wkz+2kn8HiA/jan+tfdlFAHwn9q/bSX/lj4gP8A2ztTS/2p+2gn/Lp4gP8A262x/pX3XRQB8KHxB+2dH10/xAf+4fAf6U3/AISz9sqPrpmvH/uEwn/2Wvu2igD4RPjr9sWPrpOun/uCRH/2SvSf2etV+J8nimXVfijDdWtzr2+yijubNbYmS2QSIwUAA5R5Bn/YxX1LXD/G2xaXwQ+tQRs13oFxHq0G37xEJzIo+sZkH40AaVFRWtxDd2sN3bOJIJ41kjYdGVhkH8jUtABRRWN401PVtI8O3F7oehya5qIKpBZJKI97McZZjwqjqT6CgDZory34U/EvX/EfjvXPBPizwxbaNq+lW6XBazvPtELIxGAT2bkfrXqVABRRRQByXxSzeaDbeGYZmiuPEN7FpqlfvCNjumI+kSvXqEEUcEEcEKBI41CIo6AAYArzjRUj1z4xuzR74fDOncMeguro9vcRJ/5Er0qgAooooAKKKKACiiigAooooAKKKKACiiigAooooAKKKKACiiigAooooAKKKKACiiigAooooAKKKKACiiigAooooAKKKKACiivIPH37SPwl8Hzy2lz4h/tO9jJV7bTYzMysDggtwoP1NAHr9Br4r8WftneINUuXsPh/4JVHfiKW8LTyk+ojTj9TXOp4b/at+L8bPqV3qmmaZMeVuphYQEHsI1wzD8DQB9feOfi38OfBcLt4g8W6bbyr/wAu8colmJ9NiZNeD+O/21fDNmGg8G+Gb7VZe0964t4vwUZY/pVDwP8AsT6fGEuPGvi6e6lzue306PYp9vMfJP5CvevA3wP+Fvg3ypNG8H6ebmMcXV0n2ibPrufOD9MUAfKEnxN/ag+LVwYvC2mX+l2L8A6da/Z4gPeaTk/gfwrV8M/se+OvEd62pfETxlFbSSHdII3a8uGPu7EKPzNfbyqqqFVQoHQAcCloA8P8Cfss/CTwyiPdaPLr90OTNqUu8Z9kXCj8jXsmkaVpmj2SWWk6faWFsgwsNtCsaD8FGKuUUAFMnijnheGaNJI3Uq6OMhgeoI70+igDirjQ9T8MsZ/Dqvf6V1fSmb54R3MDH/0WePQjpWjourWOsWn2qwm3qDtkRlKvE3dXU8qR6GukrnvEPhmO+u/7V0u4OmawoAFzGuVmA6JKnR1/UdjXPXwsK2uz/rf/ADLhUcPQt0Vh6Zrki366Pr1qNN1Uj5F3ZhufeJ/4v904YenetyvHqU5U5cslqdcZqSugoooqCgooooAKKKKACiiufn1i91a8k0zwrHHPJG2251CUZtrY9wP+ej/7I4HcitaNGdaVooidRQV2Tat4n0iwun09Lhb3VFZVGn2rCS4LMMjKA/KMc5bAA70un+GrzVriPUfFhjk2EPBpcbbreAg5DOf+Wr+5+Udh3r5M+N3wb+LHw18bXfxU8DeItS1tnkae7uYxi7iz94PGOJI+OwwB1HGa9N/Z8/ao0Hxibfw/458jQtfYiNLgnba3LfU/6tj6Hj0PavYoUI0Vdb9/8jknNzeux9KjgUUisGUMpBBGQR3pa2JCiiigAooooAKKKKACiiigArk/iX/x66J/2Gbf+TV1lcn8S/8Aj10T/sM2/wDJqaIn8LJqKKK4TIDXz54svLLRv2thqHimW1torjw55Xhy6v8A/j1iuR94EngHOc9+fcV9B1keKfDPh7xTp4sPEejWWq2ytuWO5iDhT6jPQ/Sqi7DTPnuX4ieMdW0H4s6Trd14abUNB0JZINU8Oh03F8nAkLZOPwwc1W1NE0P4ReFLzWvG3jrUNY8ZNbTBLfVUtgX8rPliVxthjwwyeSSBXvekfDrwLpGjX+j6X4V0u0sNRj8q9hihwJ0/uuepH41a1jwX4T1jw5a+HNU8P2F5pFoqLbWksW5IQowu3uMDiq5kVzI+RrybVdd+A/xP03U9d1m4tvDmp28likuqrdthjtaOSZRiVOc8YGQD2rovHN9e6Lo3w58F+HPFWtXuharby3V3cpr0cE8swVT5AumBVFXPC/hX0lpHgPwZpGmahpmmeGdMtLHUUCXlvHABHOoGAGXoeKrv8NvAMnhiPwzJ4S0p9HilM0do0AKJIerDuCfXNHOg5kcl+zLJ4oHhnWLLxHqa6jFa6iU0931OO+mjhKg+XLLHwWHvjrXrNZHhXwz4f8K6adN8N6PZ6VZlzI0VtHtVmIxuPqeOta9Q3dksKg1D/jwuf+uL/wDoJqeoNQ/48Ln/AK4v/wCgmnH4kS9iz8Lv+SceHf8AsGwf+gCukrm/hd/yTjw7/wBg2D/0AV0lds/iZ0R2QUUUVIwooooAKKKKACiiigApk8Uc8EkEyB45FKOp6EEYIp9FAHlvwtaa10G58OXQIuPD97Lppz/FEp3Qt+MTJXWVzusRSaN8YhIGAs/Eem9PS6tj/NonH/fuuioAK5T4tXul2XgLUf7b0fVtX0y4C211baZGzzmNzgsApBwO5BzXV0AkdOKAPmv9mbSprL4s+IbrwdouvaV4AnslyusQlZJLoEY2FvmIA3dSf5V9KUEk9STRQAU2WSOGJ5ZWCxopZ2PYAZJp1cp8U3mm8Lf2FaTGK7125i0uFh1USnEjD6Rhz+FAGx8E7e4k8ISeILyPZda/eS6kykcrG5AhX8IlSu5qGytobOygs7dAkMEaxxqOyqMAfkKmoAKKKKACiiigAooooAKKKKACiiigArG8UeILfQI7RprS8u5LufyIYrZAzltrN3IGMKa2a474j/8AIT8Lf9hNv/SeWtKUVKVmRNtRuh//AAm5/wChV8Q/9+Y//i6P+E3P/Qq+If8AvzH/APF0UV0+yh2MueXcP+E3P/Qq+If+/Mf/AMXR/wAJuf8AoVfEP/fmP/4uiij2UOwc8u4f8Juf+hV8Q/8AfmP/AOLo/wCE3P8A0KviH/vzH/8AF0UUeyh2Dnl3D/hNz/0KviH/AL8x/wDxdH/Cbn/oVfEP/fmP/wCLooo9lDsHPLuR3Pj+G1ga4uvDevwQJy8jQR4Qepw/SuyHIrzfxz/yKOp/9cD/ADFejr90fSsa0IxSaLpybbTFooorA1CiiigAooooAKKKKACsDxb4iGkLFZWMIvdYuwRa2oOB7yOf4Yx3P4Dmjxb4iGkLFZ2UIvdXu8i1tQcfV3P8MY7n8BzWVoWkmxaa9vLg3uq3ZDXV0wwW9EUfwovQL+J5pTmqauy6dN1HZbFJNB1iVfNvPGmvfaH+aQW0kccQY9QilCQvpyad/wAI9qH/AEOnif8A8CIv/jdb9Fcn1ur3/I6/q1LsYH/CPah/0Onif/wIi/8AjdeQN+yh8O7rXL/VdU1HXb17u4efy/OSNULHJHC88k+le/UVLxNR7saw9NbI8/8ACnwq0bwhamLwlqV/pDgfK8ccByR03ny9zD2JrvfCPiKTUJZNJ1aFLTWrZcyxKfkmTtLET1U/mp4NPrM1/SI9Uiikjme0v7ZvMtLuMfPC/wDVT0KngitqWJbdqn39jKphla8Nzs6K5zwj4ik1CWTSdWiS01q2XMsSn5Jk7SxE9UP5qeDXR10tWOVMKKKKQBRRRQAUUUUAFFFFAFLW9J0/WrBrHUrVLiFiGAbgqw6MpHKkdiOa5OZtX8J/LqLT6toi/dvQu64th6SqPvqP74GR3Heu5oPPWpnCNSPLNXQJtO6MS1uILq3jubWaOeGRdySRsGVh6gipax9S8M3el3MmpeE2jhZ2L3GmSHFvcEnkr/zzf3HB7jvUmh63aaqZYVSW1voOLizuF2zRH3HcejDIPrXk4jCSpe8tV/W51U6ylo9zUooorkNgqrquo2Wl2T3moXCW8C/xN3PYAdST2A5NUNZ1xba8XS9Ntm1LV5BlLWI4EY/vyt0Rfc8nsDVnQ/C7LeprHiC4XUdUXmIAYgtPaJD3/wBo/MfbpXdh8E5+9PRfi/67mFSslpHczrfT9Y8VYk1FbjR9EOCtqDsubsf9NCP9Wh/uj5j3I6V2FhZ2thZxWdlbxW9vEoWOKNQqqB2AFT0V6kUox5YqyObd3e4V88ftB/sv+GfHouNc8KiHQPEbAu2xcW123+2o+6x/vD8Qa+h6KYHwT8O/jP8AE/4B+IU8E/ErS72/0aJgqRztulhjHG63l6On+yTj0xX2l8PPHXhfx/oEet+FdWhv7ZwN6g4khb+66HlT9ab8RvAfhb4g6BJovirSob63IPluRiSFsfeR+qmvi34hfBz4ofs++IX8a/DfVb2/0WM5eWFcyRJ12XEQ4dP9oDH0oA++KK+ev2fP2nvDPxAEGieJ/I8P+I2wqq74trpv+mbH7rH+6fwJr6FoAKKKKACiiigAooooAK5P4l/8euif9hm3/k1dZXLfFBHXwx/aCRtJ/Z11DeMqjJKI434/4CWP4VUVd2IqfCx9FNjdJI1kjYOjgMrDoQehp1cBkFFFFABRRRQAUUUUAFFFFABUGof8eFz/ANcX/wDQTU9ZXiy8Fj4cvp/4zC0cS93kf5UUe5YgVdNNySQnsa/wu/5Jx4d/7BsH/oArpKz/AA1Yf2V4e07TeP8ARbWOE49VUCtCuyTu2dC2CiiipGFFFFABRRRQAUUUUAFFFFAHB/G+18vwlB4kiDfaPDl5HqalRyY0ysy/QxM/5CtSKSOaJJoWDxuoZGHQqRkH8q6O9toL2zms7qJZYJ42jlRhwysMEH6g15X4ct/iB4f0O10JvBa6munobeK7TWIkE0aEiNtrLkHbtyD3oA7Oiuc/tDx7/wBE5P8A4PIP/iaP7Q8e/wDROT/4PIP/AImgDo6K5z+0PHv/AETk/wDg8g/+Jo/tDx7/ANE5P/g8g/8AiaAOjrmrGNNc+MdrEQXg8Nae1y/90XNzlEH1Eauf+B07+0PHv/ROT/4PIP8A4mtn4XaLqmm2Oqalr1rFa6tq+oSXU0McokEUYASKPeOGwiL07k0AdhRRRQAUUUUAFFFFABRRRQAUUUUAFFFFABXHfEf/AJCfhb/sJt/6Ty12Ncd8R/8AkJ+Fv+wm3/pPLWtD418/yM6vwj6KKK6zEKKKKACiiigAooooAxfHP/Io6n/1wP8AMV6Ov3R9K848c/8AIo6n/wBcD/MV6Ov3R9KxxHwr5/oXS+Ji0UUVym4UUUUAFFFFABWD4t8RLpCxWdnCL3V7vItbUHGfV3P8MY7n8BzW9XnvhFVn1XxHqE37y7Orz23mtywijICID2UZPHvSlJQi5MqEeeSiXtB0k2LTXt7cfbdVu8G6umGN3oij+FF7L+PWtSiivOnNzd2ejGKirIKKKKgoKKKKACiiigDM1/SE1OKKSOZ7S/tm8y0u4x88L/1U9Cp4IrQ8I+In1CSTSdWiS01q1UGaJT8ky9pYieqn81PBp9YHjSNEj0vUEGy7ttTtVhmXhlV5kR1z6MpII712Yaq21Tlt08jkxFJWc1ud/RRRXScoUUUUAFFFFABRRRQAUUUUAFY3iXw5Y60I5maW0v4Afs17bnbLCfQHuvqpyDWzRTTA4dNavNFuU0/xYsUG47YNSjG22n9mz/qn/wBknB7GkjvdU8UO0Ph5mstMyVl1Z05f1Fup+9/vngdga63W2sI9IupdUjikskiZpllUMpUDJyDwa474R+NR4qj1C3nWOGa3mLQxKMYgJ+UY9un5VgsNRUufl1/Arnm1a51fh/RNO0Oza20+ErvbfNK7FpJn7u7Hlj7mtKiit229yUrBRRRSAKKKKAChgGBVgCD1BoooA+Zv2gv2VNB8XfaNf8B+RoWunLva422ty3XoP9Wx9Rx7d68r+Fvx/wDiB8G9eHgb4saXqF7p1uwjDTjN1bJ0DIx4lj9Ofoe1fdtcf8U/ht4R+JWhNpPinS47jaD5Fynyz27H+JH6j6dD3FAGp4J8W+HfGmgw654Z1W31GxlAw8Tcof7rDqrD0NblfAPjH4b/ABa/Zr8SP4r8Falcaj4e3/vJ4kLIUz9y5i6f8CHHoRX0V+z/APtJeE/iVHDpOqNHoXiUgA2kr/urg+sTnr/unn60Ae6UUUUAFFFFABTZEWSNo5FDIwKspGQQe1OooA87mtb7waTbvb3F74eBzbzwqZJbJT/BIo5aMdmGSBwRxmrtprmi3abrfVrGQe065H4E8V29ZeoeHPD+oyGS/wBD026c9WmtUcn8SKUoQm7vcydN9DE/tDT/APoIWf8A3/X/ABo/tDT/APoIWf8A3/X/ABrQ/wCEK8H/APQq6J/4Ax/4Uf8ACFeD/wDoVdE/8AY/8Kn2MO7FySM/+0NP/wCghZ/9/wBf8aP7Q0//AKCFn/3/AF/xrQ/4Qrwf/wBCron/AIAx/wCFH/CFeD/+hV0T/wAAY/8ACj2MO7DkkZ/9oaf/ANBCz/7/AK/40f2hp/8A0ELP/v8Ar/jWh/whXg//AKFXRP8AwBj/AMKP+EK8H/8AQq6J/wCAMf8AhR7GHdhySM/+0NP/AOghZ/8Af9f8aP7Q0/8A6CFn/wB/1/xrQ/4Qrwf/ANCron/gDH/hR/whXg//AKFXRP8AwBj/AMKPYw7sOSRhX/iPQ7MES6nbvJ/DFC3myMfQKuSTUug6RqOt6rb61rVq9lY2reZY2EmPMaTHE0voR/CvbOTzXU6bo+k6YP8AiW6XZWfY+RAqfyFXquMYw+Hcap66hRRRQahRRRQAUUUUAFFFFABRRRQAUUUUAFFFFABRRRQAUUUUAFFFFABRRRQAUUUUAFFFFABRRRQAUUUUAFFFFABXHfEf/kJ+Fv8AsJt/6Ty12Ncd8R/+Qn4W/wCwm3/pPLWtD418/wAjOr8I+iiqmtLcvo18lkSLpraQQkf39p2/riusyOB8TfHD4c+H9buNHutWubu7tTi6FhZyXC257h2UYFd3oGr6dr+i2mtaRdLd2F3GJYJlBAdT355H418vfC7xVceGfgKR4T1Hwpp/ibTbi7l8R2uuAi4nZSSAoyCzHGBnjtW/pHjm6uPGHwZ1rVNQttE03VdKvHu4IZPs9mZMHGVzt64xnuayU+5Tie3fETxfpfgXwy/iDWkuGtFmihIgTc26Rtq8E9MmmaL400nVvHWseDbVLn+0tJt4bi4LJiMpIAV2nPJ5Ga+YfF+uz6/8Kfibctq0upWaeN7ZbKQzmRFi8wYCdgv04rqta0fUtd+LXxfsNGvrux1P/hHrGa0mtpSjiWNUZRkc4OMH60e0dw5T6Zor55+CfjXVvin8StI1VLy7j07w94djXUoldljm1CUlTuXo2ApPtX0NWkXdXJasYnjshfB+qMxAUW5JJOABkV20fiDQWUbdb008drpD/WuA+KFq198OvEFiriNrmwlhDEZCllxn9a+dU/Yj8QBcj4g6fnHaxkH/ALNWWI+FfP8AQql8TPs5dY0lvu6pYt9Lhf8AGpV1Cwb7t9bH6Sr/AI18VP8AsU+Ll/1PxA00/W3lH9ajb9jHx4v+r8e6Wf8AgMwrlNz7dW4t2+7PE30cVIGU9GH518Mt+xz8S1/1fjjSj/20nH9KY37IPxYX/V+NdKP/AG9Tj/2WgD7qyPUUV8J/8Mk/GNP9X400z8L+4H/stH/DKvxxj/1fjWx/DVLgf+y0AfdlefeCv9Z4i/7D13/MV8rD9mP9oCP/AFfja3/DWJx/Svev2ZtB1zwz8ObjQ/El4LzVbTV7pLmYTGXe24c7jyazrP8AdP5GtD+Ij1Ciig9D9K849A8p8L/HTw74k8RR6PpPhzxVOHvjYm8XTibaOQNtJZwcADv7V1fw08c6f48stVutNs7q2XTdTm06QT7cu8eMsME8HNeJfsnab4+ntr6+0nxXp1p4aj8TXX2vTZNPEk02GG7Ev8ORj6YrhE1a+074W6rbLqV3pWiah8R57XWr21Yq8NscZG4fdB9fauh04vRHOqkt2fahB9KMH0NfItjqP/CJ+LvHth8G9evtY0G28JNeEi7a7jtrzcACjHPzbcn8/SqHhiXw7puq/C3V/h/4y1PV/FusX8K69btqDzGSNgDN5sZOECncPwz71PsfMftfI+p/iR4rs/A3gnUfFeoWtxdWtggd4oMb2BYLxnjvWzpd2moaZa38assdzCkyq3UBlBAP518NeOZvD2seBfiJrfivxbqUfjyPWpbW30171kBt1kG2MQ9GTGTnttFfbHg7/kUNF/7B9v8A+i1pTgopFQm5NmrWB46Yrpdjjvq1iP8AyYSt+uf8ef8AILsP+wvY/wDpQlVhv4sRV/4cj0Ciiiu44AooooAKKKKACiiigAooooAKKKKAK+o2drqFnJaXtulxbyD543GQ31rlPhtouhWsVxf6d4eu9Kn894/9LH7wrx05+4e1dk5whJOMDrXNfDe4t7nQZJrbW7zWIzcuPPukKOpGPlwewoA6aiiigAooooAKKKKACiiigAooooAbNHHNE8M0aSRupV0cZDA9QQeor5Y+P/7J+m61JN4k+GbRaPqwPmPpu7ZbzN1zGf8Alm3t936V9U0UAfDvwh/aT8ZfDXWB4H+MWnahPb2zeWbmZD9stR23Z/1qe/XHQmvs7wr4i0TxTokGteHtTttSsJxmOaB9w+h9D6g8iuY+L/wn8G/FHRjY+JNPH2lFItr+EBbi3P8Ast3H+ycivjfXvCfxi/Zd8Strnh68k1Lw1LJ88yIWtpl7LPH/AANj+L8jQB+gdFeN/AT9oTwf8UreKxMi6N4iCjzNOuJB+8PcxN/GPbqPSvZKACiiigAooooAKKKKACiiigAooooAKKKKACiiigAooooAKKKKACiiigAooooAKKKKACiiigAooooAKKKKACiiigAooooAKKKKACiiigAooooAKKKKACiiigAooooAK474j/8AIT8Lf9hNv/SeWuxrjviP/wAhPwt/2E2/9J5a1ofGvn+RnV+EfRRRXWYnJeIfhr4A8Qam2qa14Q0i+vmOXnltxvY+5HX8at634G8H63o9no+reGtMu9Psv+PW3kgGyH/dHauiopcqHdnMD4feCRpV1pK+F9MSwu547i4tlh2xySJjYxA7jAxWna6DpFjrV9r1jptrDq17EsVxchcNKqD5FY+gwK1KKLILnnnwM+Hcnw+0XVUvrmzutU1bUZL67ktIykS7j8qIDzgDP516HRRQlZWBu5i+Of8AkUdT/wCuB/mK9HX7o+leceOf+RR1P/rgf5ivR1+6PpWWI+GPz/Qql8TFooorlNwooooAKKKKACvPvBP+s8Rf9h67/wDQhXoNee2gfw34jvtO1JQtvq1/Ld2N3/A7yYJhb+64xx/eHTnipqpyptI0otKomzoqKKK8w9Ep6PpOl6Pbvb6Tp9rYwvK0zpbxhFZ26sQO59arw+HfD8OnXenRaJp6WV5I0t1bi3Xy5nbqzLjBJ9TWpRTuxWRm6DoGh6Bava6Ho9hpkDnc8drAsasfU4HNQaR4U8MaPqMupaT4d0qxvZs+ZPb2qI7Z68gZrZoouwsjEv8Awh4Uv7+5v77w3pFzd3UZiuJ5bRGeVD1ViRkitmGOOGJIYUWONFCoqjAUDgAU6ii7CyCuf8ef8guw/wCwvY/+lCV0Fc7q5fxBrFtoGmr5hs7y3u7+4/5Z24jcOE93bA+XsDk1vhYt1U+xjiGlTfmehUUUV2nCFFFFABRRRQAUUUUAFFFFABRRRQBn+ItXs9D0mXUdQlMNumAX2FgpPAyBzjNc78MfE1vrVlLatqNne30TM8htLZ4o1Qn5fvDrV3x3q2lQadLo93BNqF1fRMkdhbKHmkU8bsdFA/vEgVjfBDT9L03wvJHaXHm3zTE3qOu2WJuioynlcD8+cU+V2uK6vY76iiikMKKKKACiiigAooooAKKKKACiiigAqK8tre8tZbW7gjuLeVSkkUihldT1BB4IqWigD5G+Pf7JyS3Enin4TSf2ffxt5zaV5hRCw5zA/wDA2einj0IrC+Cv7UWv+ENSHgv4yWV6fszeT/aEkRFzbn0mT+Mf7Q5+tfa1ecfGr4M+DPipphi1yzFvqaLi31O3UCeL0BP8a/7J/DFAHc6DrGl69pMGraLqFvqFjcLuingcOjD6ir1fnzdWHxn/AGV/EpurSQ6l4Ynl5Zdz2VyM9HXrFJjvx9SK+sfgZ8dfBfxVskhsLkadripmfS7lgJAccmM9JF9xz6gUAeq0Vm6/rul6FAs2pXSxGQkRRgFpJT6Ig5Y/QVhp4yvLgb7TwlrLxn7rTNDCSPXaz5/OqUXa5LnFbnXUVyL+LNaBGzwbfN9b23H/ALPTf+Et1z/oS7z/AMD7f/4qjkfdfehe0idhRXH/APCW65/0Jd5/4H2//wAVR/wluuf9CXef+B9v/wDFU+R9196D2kTsKK4//hLdc/6Eu8/8D7f/AOKo/wCEt1z/AKEu8/8AA+3/APiqOR9196D2kTsKK4//AIS3XP8AoS7z/wAD7f8A+KpU8Wa0T83gy9A9r23P/s9Lkfdfeg9pE6+iuRbxv9lYHVfDms2UR6zLGk6J7t5bEge+K6XTNQstTso73T7qK6t5B8skTblNDi0rjUk9izRRRUlBRRRQAUUUUAFFFFABRRRQAUUUUAFFFFABRRRQAUUUUAFFFFABRRRQAUUUUAFFFFABRRRQAUUUUAFFFFABXHfEf/kJ+Fv+wm3/AKTy12NcR8VLq1srvwxcXlxDbQrqjbpJXCqP9Hl6k8VtQ+Nf10M6vwlmisj/AISfw1/0MOk/+Bif40f8JP4a/wChh0n/AMDE/wAa7OV9jC6Neisj/hJ/DX/Qw6T/AOBif40f8JP4a/6GHSf/AAMT/GjlfYLo16KyP+En8Nf9DDpP/gYn+NH/AAk/hr/oYdJ/8DE/xo5X2C6Neisj/hJ/DX/Qw6T/AOBif40f8JP4a/6GHSf/AAMT/GjlfYLoZ45/5FHU/wDrgf5ivR1+6PpXkvjHxF4fuPC+oQwa5pksrxbURLpCzEkYAGeTXrS/dH0rDEpqMb+f6GlJ6sWiiiuQ3CiiigAooooAKp6zpllq+nTafqECz28owynt6EHqCOoI6VcooTsBwNpPe+H9Si0LXZmmilO3TtRfgTjtFIe0o9f4hz1zW9WprOmWWsabNp+oQLNbyjDKeCPQg9iDyCOlcba3F7oGpRaFrkzTRSnbp2ovwJx2ik9JR+TDkc5FYV6KkuaPzR00a1vdkb1FFFcJ2BRRRQAUUVh6heX2qam/h/w/IEuFA+3X2MpZIew7NKR0Xt1PvpSpSqOyIqVFBXYaheX2q6k/h/w/IEnXH26+xuSyU9h2MpHRe3U+/W6BpFjoemR6fp8WyJMsxY5aRj952PUsTyTRoGkWOh6ZHp+nxFIkyWZjl5GP3nY9WYnkmr9eilGC5Y7HnSk5vmkFFFFAgooooAKKKKACiiigAooqjrerafoti17qVwsEIOBnlnY9FUDlmPYDmhK4XLxOASTgVyGoeJbzV7iTTvCQjdUbZcarIu6CH1EY/wCWr/T5R3Paqs0WreLDv1RZtK0U4KaerbZ7kf8ATZh91f8AYH4ntW/awQ2ttHb20McMMahUjRQqqPQAdK5K+MjT92Gr/Bf5/kaQpOWr0RQ0LRbPSVkeNpbi7nwbm8nbdNOf9pvT0AwB2FRazocd5dJqVjcPp2rRgCO8hAywH8Ei9HT2P4EVsUV5ir1FPnT1Ol04uPLbQzdD8USLex6P4kt00/U34hkU/wCj3fvGx6H/AGD831611Fc/qmn2ep2T2V/bx3ED9Ucd+xHoR2I5FZEF9q/hMBLw3OsaEuAJwN91aD/bA/1qD+8PmHfPWvWoYqFbTaX5+n+RyzpuHmjt6KgsLy1v7OK8sriK4t5V3RyRsGVh7Gp66CAooooAKKKKACiiigAooooAKKKKACiiigCtqmn2Oq6fPp+pWcF5ZzoUmgmQOjqexB4NfJfxb/ZY0zRPEdv408Ea9PoOmW9wJry1V2823Gf+XZhzkn5Qp6EjntX17XKfEw7tM0uBuUm1a2Vx2IDFv5qKcbX1Jk7JmP4a0maALqmsSNdazNGBJLIdxhXAxEmegHc/xHJNbtBorjlJyd2YpWCiiipAKKKKACiiigAooooAKwL7PhfUf+Ei09WSzdwNVtU+46E488Ds69SR1XOe1b9VNahW40e+gkAKyW0ikH0KmtaM3GS7Cfc7BWDKGUggjII70tYfw+uZLzwLoV1KSXksIWYnudgrcrpas7HQndBRRRSGFFFFABRRRQAUUUUAFFFFABRRRQAVDe3VtY2kt5eXEVtbQoXlllcKiKOpJPAFY3jTxdpPhW0je+aWe8uDts7C2XzLm6f+7Gnf3JwB3Irim0XWPF13HqXjry1tI332ugQvut4v7rTt/wAtpB6fcU9AetAHceEfFvh3xZbzT6BqkV4IH2SqAVdPQlWAIBHIOMEcjNblec+IvC9vqV3Dq2n3U2j65bKFt9RtQA4Uf8s5F6SR/wCw34YPNWvC/jq4i1KHw542todK1iT5ba6jJ+xagf8Apkx+6/rG3PpuoA7yiiigAooooAKKKKACiiigAooooAKKKKACiiigAqG7tbW7QR3VvDOgOQsqBgD64NTUUAUP7F0b/oE2H/gMn+FH9i6N/wBAmw/8Bk/wq/RTuxWRQ/sXRv8AoE2H/gMn+FH9i6N/0CbD/wABk/wq/RRdhZFD+xdG/wCgTYf+Ayf4Uf2Lo3/QJsP/AAGT/Cr9FF2FkUP7F0b/AKBNh/4DJ/hR/Yujf9Amw/8AAZP8Kv0UczCyKA0XR1YMuk2AIOQRbpx+lX6KKVx2CiiigAooooAKKKKACiiigAqnrOmWWsabNp+oQia3lGGU8EHsQexB5BHQ1cooTsBxsPhnxVbxiCHxZbSRJ8sbXGmb5NvbcwkG4474Gad/wj/i7/oaNN/8FB/+O12FFPTsvuQ7y7v7zyL4wr8SfDXw71XV/DmoQ6xqsUYFvbWujEuSWALf6w8AZPQ9K+adA/ax8aWOpjTvGmk29p5fyzPBYETK3vG7qP1Ffedcx42+H/grxpbtD4o8NabqeRgSSwjzV+jj5h+BqbRvey+5D55W3Z5V4B+KHh3x9CkGkfFXSLW6mG021zpX2a5XP93fKQT6EbhmvbPD+k2OiaXHYafHtiXLFidzSMers38THqTXy/8AEP8AYt8OXqyXXgbxBdaTPnKW17++h+gYfOP1rzc6T+1J8D5d9jJqWraPCOkLG/tSo9UPzJ+Qqr6WSJd3uz74or5A+H37aVoWWy+IHhaa0mVtr3WnHco9d0TnI/An6V9F+Afir8PvHUUZ8M+KdPvJnAP2ZpPLnHsY2w2fwpAdpRRRQAUUUUAFFFFABRTLiaK3heaeRIokUs7uwCqB1JJ6VxtzrWqeJnNv4dd7DSuRJqrJ88w9LdT2/wBs8egPWk2ormk7IOtkafiHxPHZ3f8AZOlW51PWGGRbo2EhB6NK/RF/U9hWfpehyfbl1jXLoalq2PkcriK2HdYU/h/3vvHuavaNpVjo9p9msYdik7pHYlnlbuzseWY+pq9Xl4jGOfuw0X4s6adG2stwooorhNwooooAKBRRQBz9xo15pd5JqnhaSO3mkbdcWEhxbXJzycD/AFb/AO0OvcGtzw54js9ZMlv5ctnqMA/0iyuBiWP39GX0YZBqSszXdFtNWEckjS215Bzb3kDbZoT7HuPVTkHuK9HD45r3auq79f8AgnNUodYHU0Vx+n+JLzSbiPT/ABb5cYdtlvqka7beY9lcf8snPoflPY9q7AcjNel0utjnuFFFFAwooooAKKKKACiiigAooooAK5T4lf8AHpov/YYt/wD2aurrlPiV/wAemi/9hi3/APZqaIn8LJaKKK4TIKKK4H41fEN/AWj6emnaW2r69rF2LPS7ENtEkh6lj2UZH500rgjvqK8T8VeNPjD4T+HfifWvFGheHLa4sbFLixu7GZpYvMMiqYpEY5yAxORxxXaX/wATfCHhvw9od54y8RWGlXWpWUVwsb7iWLKCSFUEhcnr0p8rHZncUVyPiD4meAdA0bT9Z1fxVp9tp+pKWsp9zOs4HUrtBJxkU9/iP4FTwra+KW8T2A0S6uBaw3uW8tpTnCHjKng9cY70rMLM6uisrwr4i0TxVo0es+HtRh1HT5HZEuIgdrMpww5APBFatIQVBqH/AB4XP/XF/wD0E1PUGof8eFz/ANcX/wDQTVQ+JCexa+GH/JOfDv8A2DoP/QBXR1znww/5Jz4d/wCwdB/6AK6Ou2fxM3jsgoooqSgooooAKKKKACiiigAooqnreq6bommT6nq17BZWcC7pJpnCqo/x9upoAuVwXiTx1cXWoz+HfA9vDqeqRHZdXspP2LTz3EjD78npGvPqVrJvdQ8RePyY4De+G/CrcFuYr/UFz27wREd/vkH+Gui0jTdP0jTotO0uzhs7SEYjhiXao/xPqepoAy/DXhi20m6m1S7up9W1y5GLnU7rBlcf3EA4jjHZF4+p5rfoooAKp6zpen6zpsum6rZw3lpKPnilXIOOh9iOoI5FXKKAOTsdU8QeAAI75rzxF4VQACfBlv8AT1/2wOZ4gO4+cDqG616Po+p6frGmwalpV5Be2c67opoXDKw9iKxK5S78Paloeoza54FnhsrqVt93pcxIsr455JA/1Uh/56KOf4gaAPUaK5nwX4003xK01kYptN1m1H+l6Xd4WeHnG4dnQ9nXIP6V01ABRRRQAUUUUAFFFFABRRRQAUUUUAFFFFABRRRQAUUUUAFFFFABRRRQAUUUUAFFFFABRRRQAUUUUAFFFFABRRRQAUUUUAFFFFABRRRQBwnxA+EHw58dRSDxF4VsJrhwf9KhTyZwfXemCfxzXzr4+/YuMM39ofDvxZJbyodyW2o5yp7bZUGR+I/GvsWigD4HTxT+1D8EXaPWbbUNU0iHgtdx/brbaO4lX5lH1I+len/Dz9s/wnqIitvGuh3miXB4e4tf38GfXH3wPwNfVDKrKVZQykYIIyDXl/xE+APws8cK8mpeGYLO8bJ+16f/AKPLn1O3hvxBoA6/wb448IeMrX7R4X8Rabqq4yVt5wXUf7S/eH4iuir4o8Y/sdeKtCvzqvw08YeY8Z3RRXLm2uEPoJU4P4hawLX4x/tHfB51s/G2j3Wo2EbYDarblwR6LcJ1/EmgD72rK8R6/p+h26Pdu7zynbb20K75p2/uoo5P16Dua8W+GP7RsPxF0SZ9L8NXGkXkMkcE93eyB7G3dwcFpFwT0OFIGfWvUdE0OGxuJNQuLiTUNUnH729mwWI/uoBwieij9ayr1o0Ypy67DhFzdkVDpmpeIplu/FG2O0Vt0GkRtujX0Mx/5aN7fdHv1roQAoCqAABgAdqWivGrVp1XeR2QgoLQKKKKyLCiivEP2soPFkml+HrjS4dduvDMF4z+ILfRJTHePFgbSpHO0fNnHtmrpw55ctxSdlc9uYhfvEL9TigMpJAYEjqAelfLGs6v4Ab4LeHJvDd7rfiXTW8YWqeXqmoSLc2UzH7jEc4GMhTwc9ap+Jde8VeH7z4/ar4VkEd3bahamS4MxR7aLYd0kfqwOBj3NbLDt9f6uR7Q+tKK4f4Hap4t1n4b6XqPjK0tIL+aCNont5/N8+IxqVlc9nbJyK7iueSs7Fp3QUUUUhkd1BBdW8ltcwxzQyKVeORQysD2IPWsCGPV/Ch3aYs2q6KDlrFm3XFsP+mLH76j+4efQ9q6Oit6GInRem3YznSU/Us6Lq2n6zYre6bdJcQklSRwUYdVYHlWHcHmrtcXreki2nm1/Sb6LSNQRC00z/8AHvOo7TL0I/2uGHr2r5/+L37WHiDwV4rj0e08G2E8RtY5jJcTyDzC2fmQgcxnGQcDNezSqRqx54HG04vlkfWlFfDqftv+JP4/Amkn6Xkg/pU6ftwa1/H4B08/S/f/AOJqwPtuivipP24dQ/j+H9qfpqLf/EVMn7cUv8fw8Q/TU/8A7XQB9n0V8bp+3HF/H8OXP01Uf/GqlX9uOx/i+HFx+Grr/wDGqAPsOivj9f24tM/i+Hd4Ppqq/wDxupF/bh0X+L4fagPpqSH/ANkoA+vK5T4lf8emif8AYZt/5NXzkv7cHh/+LwDqg+l9Gf8A2Wrvh79p7RPif4x8OeErPwtqGnTz6nHKJpbhHUBFYkYAzTRM/hZ9C0UUVwmIV5F+0d4c8TXk3hLxn4T07+1dQ8Lan9rewBw88TY3bfUjb0969do6GmnZjTseB/E3xT4m+I3wi8XaVZfDbxJpSf2ehja+jAknm81P3ccY5bAyc+1cZ498JeK9K8e6f4kl0rxPc6beeGrSxD6NZ29zNbSJGFeJ0mRgoJycjHXr1r6vyc9aKpTt0HzHy1faX4t8LeAfA2meH/DPidNFH2tr1v7OtrrVbVnfKJh1KRq3XgdPpWJYeB/FTfAJdFvfDGqm6fx/HcyWk9uDIbc/edlUbdvPJA2+nFfYGTS8+9HOPmILS1tbO3W3s7eG2gT7scSBFH0A4qaiioICoL/mxuB/0xf/ANBNT1BqP/IPuf8Ari//AKCaqPxIT2Pmvw9+2L4b8OaJZ+H5vBurTyadCtq8qXUYDlBtJAI6HFaA/be8Kd/BGtD/ALeYq9h+H3w0+Ht/4E0O8vfBegz3E1hFJLLJZIWdioJJOOSTW03wj+GDfe8B+Hj/ANuKf4V2z+JnRHZHgy/tu+EP4vBeuD/tvF/jUi/tt+Cz97wfro/7axf417i3wd+FjdfAPh7/AMAk/wAKjb4L/CdvvfD/AMP/APgGtSM8WX9tjwN/F4U18f8AAov8aev7a3gLv4Y8QD/v1/8AFV7E3wR+Ebdfh74f/wDAQVGfgX8Hz1+Hfh//AMBhQB5Kv7anw9/i8O+IR/wGP/4qnr+2l8OT10HxCP8AtnH/APFV6qfgR8Hj/wA070H/AMB//r0xvgH8G26/D3RPwjI/rQB5iv7aHw176N4iH/bGP/4upF/bO+GB+9pfiIf9u8f/AMXXor/s9/Blv+af6UPpvH/s1Qv+zp8F2/5kPTx9HkH/ALNQBwi/tl/Cs9bDxEP+3VP/AIupPht8QvC/xm+JGqahGupXVlpsEMukWt/GEhiccTOIwSGkDFDuOSAwxiuxf9mz4Kt/zI9qPpPKP/Zqq6z4B8M/C2LQNX8G6OmnWMGreVqKK7NmK6CwliWJOFcRH04NAHoFFFFABRRTJpYoYXmmkSKJFLO7sFVQOpJPQUAPorK8NeI9B8S2k154f1a01S3hlMMkttIHVXABK5HfkVq0AFFFFAHFfGK0tF8JXGtpHMmt2KgaTdWrbLiO4dgsaqw6hmIBU5BGcivU9NS6j062jvpVmulhQTyKuA7gDcQO2TmvOdehl1r4heFtAjYfZrWSTWb4eqw/LCv4yuD/AMAr06gAooooAKKKKACiiigAooooAKKKKACiiigAooooAKKKKACiiigAooooAKKKKACiiigAooooAKKKKACiiigAooooAKKKKACiiigAooooAKKKKACiiigAqK7t7e7t3t7qCKeFxh45UDKw9CDwalooAw9B8H+FtAtL600Xw/p1hbahIZbuGCBVSZiMZZenQVjXOj6p4XJn0FJdS0gEs+mM2ZYB6wMeo/6Zn8D2rtaKUoxkuWSug2d0c5o+qWOr2f2rT5xLGGKuMENGw6qynlWHoau1S8QeGFurw6vo1wNM1gDBmVcx3A7LMn8Y9+o7GqOla4z3w0jWbX+zNWx8sLNmO4A6tC/8Y9uo7ivKxGDdP3oar8V/Xc6ada+ktzboooriNwriviT4d8bavdafqHgnxuPDl1aq6Swz2YuLe5VsYLKejLjgj1rtaKcZOLuJq54QP2fpI/BkWlL4nFxq0/iWHX9Tvprbas8iE5REU/KOeK3Z/g6bx/ifHe60ot/HBQx+VCd9ptXAzk4bnB7cV61RWnt59yeRHI/CTw74i8KeC7XQvEniCDW7i0AignhtfJVIVUKiY7kAdT6111FFZt3dykrBRRRSGFZuu61Z6QkazeZNdTkrbWkC7pp29FX+ZPA7mqN1rV3qV5LpXheGO7uYyVuL2TP2a0PoSPvv/sD8SK2/Dfhuz0eSS7eSS+1Ocfv76fBkf/ZHZF9FHFejh8C371XRduv/AADnqV+kTLsPDd7rE8eoeLPLMaNvt9KjbdDH6GU/8tX/APHR2B610lzpmm3Lh7nT7SZwAu6SFWOPTkVbor0lZJJbHOZraBoLfe0XTT9bVP8ACmHw14cb72gaUfrZx/4Vq0UAY7eFfC7fe8N6OfrYx/8AxNRt4O8It97wtoh+thF/8TW5RQBz7eCPBjfe8JaCfrp8X/xNRnwD4Gbr4N8Pn/uHRf8AxNdJRQBzDfDvwC33vBfh4/8AcOi/+JqNvhr8PW+94H8On/uHRf8AxNdXRQByDfC/4cN97wL4cP8A3Dov8K5/xd4D8FaDPoWpaL4U0bTr1dXgVZ7azSNwCGyAQM816fXJ/Ev/AI9NE/7DNv8AyamtyZ/CyavNf2jvGmreCfh19r0Dy11jUL2HT7OSRcrE8h5fHsBx716VXFfGnwHH8RfAs/h/7abC7WZLmyugu7yZkOVJHp1Brija+pktzjpPAvjHwj4Y1rWbr4n67rX/ABI7w31reAFDN5LFXhI5j2t+lc38B/jFcW/hnwH4c8Q+G9eSLVl+xW2vXThormcE8DJ3EdBuNddp/h341appl9pXi7xD4XNjJpdxaBbK3fzLqR4iiPIzD5QCQTt61Qg+E3iCPwh8KtIN5p5n8Iaglzfne22RRniPjk898VenUq6L/jL4z3nhPWZU1j4d+IINCivVs21dnjEZLNtDhM5Kk9KTxl8bDofjDXPDGm+Btb1+60e2ju5pLNl2CFk3M7E/dwMcc5rzrxd+z7471jVtYZtS8M38d3qv2+HUr1Zjfqm8MIQ3KooHYV6nY/D3WIPiL478RNdWn2XxDosNhaoGO9JEj2kvxgDPpmi0QtExvD37QOm6vq3hxW8H6/Y6L4huBaWWrXKqInuD1QAEkgHjd+NcV4b+Kus+DfF3xRlufDXiLxLp1lrrSTTwSgw6fAMjHzHj/dHpXVW/wf8AEUfw8+GXh1r3TvtPhXWUvr1t7bJEDMSE45PPfFZ2s/Cf4ppd+O7fw74g8O22leMdQkkuUuInaWGFuNysBjcQWBH60/dDQ63xJ8bNNtrnSLHwr4d1PxXf6npq6otvZsqeTbN0Zy3frx7VT1H4/aLF4Z8K65p3h3VtT/4SOee1htINvnxXEWAYyvcliBkH3rm/GH7P97Hqehal4VXw7qh0/RotKuLTxBAzxSeX92VSvIbrW5a/CfXI3+G8oTw7Yt4b1O4vdQg06JoYGEmMCJcHJ45zilaIWieteGr+71TQbPUL/SrjSbqeIPLZTsDJA391iOCas6j/AMg+5/64v/6CanFQaj/yD7n/AK4v/wCgmph8SM3sWvhd/wAk48O/9g2D/wBAFdJXN/C7/knHh3/sGwf+gCukrtn8TOiOyCiiipGFFFFABRRRQAUUUUAFY/jXRI/EnhHVdCkbaL61eFX/ALjEfK31BwfwrYooA888A6tJrXg7TNQuCPtRh8q6A/hnjJSQf99q1btcr4fjj0P4h+KPDSgpFcSJrVop6bZsrKB9JUJP++K6qgAqlrmj6Zr+mS6RrFnHe2NwVE0EmdsgDAgHHUZA471drL8V6FZ+JfD93oeoS3cVtdKFke1mMUoAIPyuOR0oA8h/Y6hit/CvjCCCNIoo/FV2iIgwFACgADsK9yrz34a/B/wh8PdZm1Xw7JrCzTRvHIlzftLG24glip43fKOetehUAFFFYvjnWf8AhH/CGqawqGSW3t2MEY6ySn5Y1HuWKigBnwphTVPEfinxdv8AMSe7XS7M9hBbZDEfWVpP++RXodYXw/0NfDfgvSdEUfPa2yrKf70pGXb8WLH8a3aACiiigAooooAKKKKACiiigAooooAKKKKACiiigAooooAKKKKACiiigAooooAKKKKACiiigAooooAKKKKACiiigAooooAKKKKACiiigAooooAKKKKACiiigAooooAKoa7o+na3Ymz1K3WaPO5Gzh427MrDlWHqKv0U07A1c4aWfVvCreXrLS6lo2cJqSpmW3HpOo6j/poB9QOtdBBLFPAk8EiSxSKGR0YFWB6EEda2GAZSrAEHgg965C+8N3uizSX/AIT2eU7b7jSZG2wyepiP/LJ/b7p9B1rir4ONT3oaP8P+B+RpCq46PVG1RWboWtWerxyCDzIbmAhbm1mXZNA3oy/yPQ9jWlXlSjKD5ZKzOtNNXQUUUVIwoorI1rXYrG5j0+1t5NR1WYZisoCN2P77noif7R/DNXTpyqS5Yq7JlJRV2X9SvrPTbKS8v7mO3t4x80jnAHt7n2rGgtNX8WfNcLc6NoR/5Z/cu7se/eJD6fePtV7RvDE0l7FrHiaeO/1BOYIEB+zWn+4p+83+2efTFdTXr0MLCjq9ZfgvT/M5J1JT8kV9NsbPTbKKysLaK2tohhI41woFWKKK6SAooooAKKKKACiiigAooooAKKKKACuT+Jf/AB6aJ/2Gbf8Ak1dZXKfE/EejWF452xWuqW0sjHoq79pJ9vmpx3In8LJaKO9FcJkFFFFABRRRQAUUUUAFFFFABVfUf+Qfc/8AXF//AEE1Yqjr9wlroV/cyHCxW0jH8FNVD4kJ7Gh8Lv8AknHh3/sGwf8AoArpKxfAlnJp/gvRbGUESQWMKMD2IQZrartl8TOiOyCiiipGFFFFABRRRQAUUUUAFFFFAHnvxVRtL8R+FvFSRjy4rttLvW9IbnAVj7CVY/8Avo1uVZ+IGht4l8FatoccgimurZlgk/55yjmNvwYKfwrnPBWtDXPCemarKyJPcW6mdNw+SUfLIv4MGFAG1RTfMj/56J/30KPMj/56J/30KAHUU3zI/wDnon/fQo8yP/non/fQoAdXLeKI5NY8a+FfDUY3Qm6bVb3uPKt8FAfrK0f/AHya6fzI/wDnon/fQrE+GUS6t4z8U+KfMEkSSpo9kR0CQfNKR9ZXYf8AAKAPQ6KKKACiiigAooooAKKKKACiiigAooooAKKKKACiiigAooooAKKKKACiiigAooooAKKKKACiiigAooooAKKKKACiiigAooooAKKKKACiiigAooooAKKKKACiiigAooooAKKKKACiiigDD8SeG7TWJI7yOWSw1OAfuL6DiRf9luzp6qePpWNaa1d6fex6T4ohjtLqQhbe7jz9muz6KT9x/wDYb8Ca7Wq+pWNnqVlJZX9tFc28ow8ci5BrOrShVVp/eOMnB3iUaRiFUsxAAGST0Arnri11rwmC1ul3rmiDAES/PeWo9s/61Pr8w96fbaJqfiZluPEaPY6Xw0elK/zy+9ww6/7g49c1wRy+fNZvTv8A8A3eIVttRi6lqXiOZrXwwRFZg7ZtXkTMY55WFT/rG/2vuj36V0nhzQdP0K2aKzR3llO6e5mbfNO3952PJ/kO1aMMUUMKQwxpHGgCoiLhVA6AAdKfXowhGnHlgtDnbcneQUUUVQBRRRQAUUUUAFFFFABRRRQAUUUUAFFFFABVTWNPtdW0u5029jElvcxmORfY/wBat0U07aged6bqE+k3SeH/ABFIIr1Pktbp+I75B0ZT034+8vXPI4rerd1LT7HUrRrTULSC6gbrHKgZT+Brmn+H2iBj9ku9bsU/5522pzKg+g3HFRKlCTvexi4SWxY5o5qt/wAK/wBP/wCg74m/8G0v+NH/AAr/AE//AKD3if8A8G0v+NT7CP8AN+AuWXYs80c1W/4V/p//AEHvE/8A4Npf8aP+Ff6f/wBB7xP/AODaX/Gj2Ef5vwDll2LPNHNVv+Ff6f8A9B7xP/4Npf8AGj/hX+n/APQe8T/+DaX/ABo9hH+b8A5ZdizzRzVb/hX+n/8AQe8T/wDg2l/xo/4V/p//AEHvE/8A4Npf8aPYR/m/AOWXYsOyohd2CqBkknAArBgU+NL+K0swW0CCUSXl2OEumU5EMf8AeXIBZunGOcmtq28AeHkkEl4t/qhHRb+9knT/AL5Y7T+IrqYY44YlihjSONRhVUYCj0A7VcIRg7p3Y1Tb3HUUUUzYKKKKACiiigAooooAKKKKACiiigArlrr4c+A7q5lubjwfoks0zmSR2s0JdicknjqTXU0UAcl/wrP4e/8AQl6F/wCASf4Uf8Kz+Hv/AEJehf8AgEn+FdbRQByX/Cs/h7/0Jehf+ASf4Uf8Kz+Hv/Ql6F/4BJ/hXW0UAcl/wrP4e/8AQl6F/wCASf4V0OjaXpui6dHp2k2NtY2cWfLgt4wiLk5OAOOSSa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B//Z">
            <a:extLst>
              <a:ext uri="{FF2B5EF4-FFF2-40B4-BE49-F238E27FC236}">
                <a16:creationId xmlns:a16="http://schemas.microsoft.com/office/drawing/2014/main" id="{1876E805-113B-4E09-A212-5AB6C2EF17E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AutoShape 10" descr="data:image/jpg;base64,%20/9j/4AAQSkZJRgABAQEAYABgAAD/2wBDAAUDBAQEAwUEBAQFBQUGBwwIBwcHBw8LCwkMEQ8SEhEPERETFhwXExQaFRERGCEYGh0dHx8fExciJCIeJBweHx7/2wBDAQUFBQcGBw4ICA4eFBEUHh4eHh4eHh4eHh4eHh4eHh4eHh4eHh4eHh4eHh4eHh4eHh4eHh4eHh4eHh4eHh4eHh7/wAARCAFKA0Q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82+MXxUh+HuqaLZf2RLqQvH86/dJNosbMOkbTtxzhpFGPrzQB6TRWbruv6HoVil9rWr2OnWrkKkt1OsasT0AJPNV9U8XeFtLs7S81LxFpVpbXoBtZZrtEWYHuhJ+YfSgDaorJ13xN4c0FYG1rXdN00XB/c/arlI/M/3dx5rB8WfFDwd4X8U6N4e1jVra3n1aKSaKVpkWKJFXIZyWGA3RSAckGgDtKKRSGUMpBBGQR3paACiiigAooooAKKKKACiiigAorn/AIj+Iz4Q8B614nFp9rOmWj3Ag37fM2jpnnFZfgzxB4vvLc6l4u0PRNE0o2q3CXEOqGUjIBwwZFCjB65oA7SiueTxdoup+H9T1LwzrGkau1jC7ny75PKVwpIEjjOwcdT0HNY+meN7ufxfoWh3drYRxaj4ffVp54bnzUjZWjG1H6MmHJ3ewoA7mis4a9opsbG+GrWJtb90js5vPXZcO33VQ5wxPYDrULeJ/Da6tHpDa9pg1GSVoUtTdJ5rSKASoXOcgEHHvQBr0VkWHijw3f6zNo1jr+mXOpQ5821iukaVMdcqDnirup6lp2lxRy6lfW1nHJIIkeeUIGc5IUE9+Dx7UAWqK5z/AITzwT/Zf9qf8JdoX2HzvI+0fb4/L8z+5uzjPtWlrOvaJo2mDU9X1ewsLE4xcXFwscZz0wxODmgDRorOt9d0W40Q65b6vYS6WELm8S4UwhR1O/OMfjXL6F8Q7HXfiWPDei3Gnajph0X+0Rf2twJMuJvLKfLxjHPrQB3NFZGl+KPDeq6pPpema/pl7fW+fOt4LpHkTHXKg5rXoAKKKKACiiigAoorz7xp408T2PxDtPBvhbw7p+qXU2ltqUkt5fm3VEEvl7RhGyc0Aeg0Vzcni3TdF02xPjTVNF0HUrhAXt5L9dobPRWbaWHvgVJqWvXNv4r0rS7dNNls720nuGke9Cz/ACBSvlxYzIp3csDxx60AdBRXHfDLxvB4o8G6Dq+pNZ6ff6wsxgtBNy5jdgwQHlsBcn0rem8QaFCt60usWEa2EqxXha4UC3dsbVfn5SdwwD6igDTorDPjDwmNJn1c+JNI/s+CYwS3X2xPKSQdULZxu9utaelajYarYRX+mXtve2kozHNBIHRh7EcGgCzRXnWreP8AXb3xdqXhvwJ4Xh12XR9q6pd3V8LWCGVl3CFTtYu+0gnjAyMmuh/4TDTdM0Gxv/GNxY+F7q5X57W+vYwUfPKhs4b6j1oA6SiqQ1bSy9ig1G0LagCbMCZT9owu47OfmwvPHamSa5o0a6g0mrWSLppAvi06gWxKhh5nPy8EHnsaANCisiw8T+G7/RZdbs9e0240yIkSXcdyhhQjrls4FT6Drmja/ZG90PVbLUrYMVMtrOsihvQlT1oA0KKKKACiiigAooooAKKKhv5/stjcXW3d5MTSbc9cDOKAJqK88+BPxLHxL8Ly6lc6V/Y9/A0ZlszN5mIpY1kikBwMhkb06gjtVT4b/FmDxp8QPE3h6HSvsunaPGJbfUXmBW7QSPG7hcfKoeN8HPOKAPTqKxtF8U+HNdluYdD17S9Tnth+9jtrpJCn+9tJwPes/QPGNjJ4X0/VfEmoaHpc94krqsepJLCwQnJSQ4DYABOOlAHU0VxnjH4neDvDPgSTxnNq9rfaUHEcT2c8cnnuWxtQ7gCRySM9Aa1v+Ey8Jjw/H4gbxHpSaVI21LxrtBEzdMBs4Jz2oA3aKzT4g0IabbakdZ08WV0wW3uPtCeXKSCQFbOCcA/kabo3iTw/rVhNqGka3p1/aQErNPb3KOkZHUMQcD8aANSisfQ/FPhrXRc/2Lr+maj9l/1/2a6STyv97B4pmneL/Cmo6lDpun+JNIur2aITRW8N5G8joRncFByRigDborJvfE/hyx1qHRLzXtMt9Tnx5VpLdIsz56YQnJpL7xR4bsdZh0W91/TLbUpseXaS3SLK+emFJzzQBr0VmeKJ9cttIeXw7p9nqGoBl2QXVyYIyM8kuFbHHtXnngH4ieMtfvdSm1bwzoOkaPpGpTafqV42sEmJ4lBZlBjAK/MvJI70AerUVlaH4l8Pa5ZzXmja5p2oW0BImltrlJFjOM/MQeOPWuX8c/ErSNM+Hes+KfC9/pevPpjQo8cN0HQM8qJhihOOGJ/CgDvaKpQarps2pyaVHfWzajFCs8tqsoMsaNwGK9QCehq7QAUUUUAFFFFABRRRQAUVwXxf8W+LPBmiXviDSPDmm6rpOn2T3V28+oNBKNmSVVQjA8D1FO8O+N7230VdW+ISeHvC9tcpG9k39rB/NDLk53qmCMjpnrQB3dFZV/4k8P6fosetX2uadbaZKAY7uS5RYnB6YYnBz7Vi3njOP/hNfC2j6b9kvdP122u7gXkcu4AQqhXaRwQdx/KgDr6Kp6Rqmm6vaG70q/tr63DtH5tvKHTcpwwyOMg8GvPPAvjvxx4uvZ7qw8JaTHoUGqz2ElzJqrCfbDIUZxH5eM8ZA3UAen0Vj2/inw1casukwa/pcuoO0irapdIZS0f+sG3Ocrg59MUuj+KPDes309hpOvaZf3dv/robe6SR4+3IByKANeisOXxj4Tj1K402TxNo6XtsVE9ubyMSRliAAy5yMkgfUitBNU02S4vbdL+2aaxCm7jEoLQAruG8fw5HPPagC5RWRfeJ/DljokOt3mvabb6ZOqtDdyXKLFIG5BVicHPtUj+INBTTrbUm1nT1srpgtvcG5QRysQSArZwTgH8jQBp0Vm6F4g0PXrKS90TWLDUraNikktrcLIiMOoJU8GqVp428H3cM81r4p0WeO3lSGZo72NhHI7bVViDwSxwPU0Ab9FVZtS0+HU4NMlvbdL64RpIbdpAJJFXG5lXqQMjJ96tUAFFFFABRRRQAUUUUAFFFFABRRRQAV4FNovi74heKviDqlha6E2jXkTeGbf8AtUTK/kxKfNeMKPutK7HPcoPSvfaAABwAKAPmNtUju/Afg7VfEuvyaD4y8MC803fe6W95aXMsWIpEkUL1dVQqwIY5OM1a8Y62E0/w347nSHw94vPh3YPD15o8lzaXsbPv+zphcxyFlGMHcAwyMV9I7F/ur1z070FVJGQDjpx0oA+ZvF51KL4rajrHirWovCNpq+hWK2IvNDXUIlHlnz7YORiNhISSv8WQe1XbnT9E8FyfCDVLy8uNT8O6dBfWkmpz6c+797HmEPHtLIMgqoI44r6MZVYYZQR7ilIDDBAI96AERlZFZfukZHHaloooAKKKKACiiigAooooAKKKKAOC/aHjkm+B/jGKKN5HbSpgqopLE47AVzWuaRc+C/g5fa3ZTa14mnOm24NhrE73tvGCU3P5OMnYCWwOSFxXsRAIwRkUUAfLnhiWXUPF3j+6t9ZGv283gV41vbbRTYQyOGk+RVAxIRnGeTzjtXV+E7C6uPEHge3WCRWf4cyQZZCArnyAAfQ+1e7hVAwFAGMdKAo44HHA4oA+WtI8QWV74F+E/g2C11M61ofiCxj1SBrCVRZmMuh8xiu0ZJGME5HNeheDPDaz6n8W9SsdNiTxBc6tPDZXkkeJARaR+VtYjgBmPI7k17HtXJ+UcnPSlAAzgAZ60AfLHwk0mwvJPAml6l42a11jRLmOU6MnhnyLqK4VGWRJJgMlTlsuThuDXrH7Q+l2+s6b4P0+8she2kviywFxCyFlZPnzuH931zxXp21dxbaMnqcc0EA4yM80AeIWHg/QJfjv8QWl8N2TQHw9ZrGGtB5eXWUPtGNuSFUHHPArkPCVxb6Tpnwi8ReOrO4m8O2nh65tRLNaPNHZ3paMRPIoBK/uldQxHH419P4Gc4GaQqpXaVG30xxQB8uapp32rwv4p8Rafot4fAV34x0/UDYpaOn2iyjCi6lWDAby2kAbGPmCk45rXBsPEnxN8Xaj8NtPkt/t/gWe2tL6Kza2iubsOQpQsBkrlRux274r6N7Y7UgVVxhQPoKAPmT4RabpOoax4Ghk8bFNS0Mhk0eLwz9kuIXERWSKaQDheuSeGIB5r6cpAqhiwUAnqcUtABRRRQAUUUUAFePeM/Dr+IP2jdPjbUdb0yKPwrIftGm3LQMW+1D5S4HI74r2GjAznAz60AfPfxf1CbS/Edz4Xn1CPS7aLQUFvqV5oh1S81hmMgaAORjK4GR1JfPSovhpb3n9qfBhpoLgNF4NvUkLo2UbZAAGz0PHQ19EEAkEgEjp7UBV4+UcdOOlAHzL4YlXw34S+DfizWIbqDStLn1GC+mFu7m2MwkWNnVQSFJGM47iqOrvH4l8G/GW9t7C+ax1PX9OaFZrV4nmixApYKQGwQDz6V9UbV27dox6Y4oKqc/KOevFAHgvx20RtE8XeB76wmg8O+GLBLqKW5j0hby3tbhkQRM8OMDKqyiQj5fbNdd+z5penWGi63eaX4mfX4dR1R7l5V042cKSFFDCKPGNpwCSOCc+9emkAjBAI9KAABgAAUAeH+FPEWnfC7x7450zxp9qsLfWdYbV9Mv/ALLJLDcxyRopTcinDqykbTz0xVb4l+NUv/E+iPF5Ph3Sr/SJJ4dY1Dw493cTt5m37IsbD5CR8+Dy2RgV7wyqw+ZQfqKCAcZAODkZoA+Z/CFwfDXw9+DHibW4b2HTdIur6K+l+yOWthLHNHGzoASi5wOnGRUkT6B4os/ivf6tPq+kaPf69p81tff2dIWQpBCY5miKktFuQE7hgg84r6UKqV2lQR6Yo2jngc9eOtAHy74p1HxN4q+GlrdNHB/ZejeLoDc6tp+jMYb60RM/ajaN99VdgGHIO3I4FeifAmx0ybxV4i8Raf42XxHLeW9tDcrb6P8AYbdShfY3A2u+CQSOQMZ7V6+AAMAAD0pFVVGFUAegFAC0UUUAFFFFABRRRQAVT10E6HfgAkm2kwB/umrlFAHylbL4m8F+BPAGv+FtMupr7xT4UtfDlwiIf9Hu/LBtrhx22hpAc+1dTZ6PL4H8Z+L7HR9BOsR6V8P7OG3tGiJS9kR59yHj5ixySOp3e9fQe1cAYGB0pcDOcDPrQB80/C7UJNW+M/hy+i1qDVV/4R+9WcWWgGwgs2PkkQbsfOQQflPK496b4N0ODUtK+BtpqulfabeG41OWSKeElUYK5QsCMdcEZ719LhVHRQPwoCrx8o46cdKAPm3x5oL/APCEfGvTtM0ljCmqW13BbQ25Iz5MDytGoHU4Ynb71J8TNRtNV8V+BvF+ka0uleE47G7gTUm0Q3VvbXRKffiYDYWUMocjsRnmvo/A54HPWk2rt27Rt9McUAfOD+F9Hn8BeHbKHUz4p0vU/H0N3Of7NNrAAwO9EixgR7hnj5SWNa/iGKTwz49+KV5ofhaHUE/4RmxnXThbfuLqQGZTlFGGwoGQOSBiveNq4AwMDpx0pcDOcDPrQB80fDi8k1L4vi8g1yLW4T4Ru45JrPQjYW8T+ZERCDj94Rz15X8TU/hbwzp2n/Bz4RX1nokdtqKa/YTSzJb7ZgZGcSFmxuwQcHPGMV9HhVHRQPwo2rgDaMDpxQB4H4Vv/CGi+KvGOh+PNFkuvEWo+JXuLYSaW9w15AxT7M0TBSNqAeo24J4ri9V0eObU/HHhrxh4z/4R+41TXbmYQSeG/tM9zAzg28kNwAWbCBAMfcK4r6w2rkNtGR0OKCqkhioJHQ46UAQ6fGYbC3haV5ikSqZHGGfA6n3NeBRX+o6D8NPiZf2+gxalJ/wmdwfKu7Rp4kjZoAZzGBmRUGXwOu2voSkwADwOaAPmPwnHpus+IPiH/a2vXesaHe+F4IbnUtO0NrION8obykUHzCoP3gD6dqi1nVtQ1b4MeOtBtZLTW7Cwh09LLXbHSmtTdEzpmNo8YZ4woJK/L83QHNfUIVV+6oH0FG1du3aNvpjigDyX4Ewv4f17xH4V8Q2jt4rNwb6fV3Qn+2bdziOYN0XaPkMY4XHAwa9bpMDO7Az60tABRRRQAUUUUAFFFFAHCftCRyTfA7xpFDG8kjaNchURSSTsPAA61w3xG1y40uTwVp8z2Oh2c2jF21260Y37RyKsYFqi4wrODnnrtwK90IBGCMikKqQAVBA9qAPlzw5a6bH8FvCF9q3iCfw/qGm61qU+mXV3ozSW5YzSqUmgxiMMjfKOCP4at+NYPGXj7R/AUmm2f9gazd6TquYIYmhikUbP3eThoVmUcHhlD19MFVIwVBHpilwM5wM0Acl8INU0XVfh/pr6FpLaLbWyG1fTWiMbWcsfyvER3IPfv17159+z34SaTT9R1ubWfElo6eJdRcWKXrR2rgXD4zFjBB/WvbgAM4AGaAAOgAoA+fvDvhW4ufhb8V59C0oJ4lv9a1lLecR7Z3O5lUIx5GVJAxxz71mfCTTtL1TxL4Okh8dh9S0W2kEWkweGvsUkWYdjxTuBwAecN1IBFfSgAHQAUgVQSQoBPU460AfH93d+Frb4NaR4XvtDnXxvYeI7d9QZ9NcSwzG/XfO8xXG11IAO47twH09I1rxBY+D/AIlfE211q31FZvEFjayaSsFlJN9sK2zRMiFQQWDdQcYBzXr3jPwzpvizRf7J1Qzrb/aILgmFwrF4ZFkTnB43KM+1bZAJBwMjoaAPlV7TUtP0T4R6tqGqNoOkWvhc2xvZ9I+3RWt2yx4Dxn/VlkDAOfQjvWyfCujS+BfCthBqR8U6VqPj+K7nZtNNtBhw5dVixgRbhn+6cmvpAqpXaVBHpjijauAMDA6cdKAPnf4i+HtR/t/4u6b4R02WCa98Mae8cNmnliZw0ocLjA3mNdvHPSt60tvhx8S/Aep+GPCemrbXp0RYfPTTHtzaspBjjZ2QfOsiqdvJGCa9rwM5wM+tNeMNG6KSm4H5l4IJ7/WgDxP9njUNR8eeINQ+IWsW0kEllYQ+H7eOUcrNF814w+suBn0Svbqw/AvhfS/Bvhm30DSPPa2hZ3Mk775ZXdy7u7YGWLMSeK3KACiiigAooooAKKKKACjvRRQAUUUUAFFFFABRRRQAUUUUAFFFFABRRRQAUUUUAFFFFABRRRQAUUUUAFFFFABRRRQAUUUUAFFFFABRRRQAUUUUAFFFFABRRRQAUUUUAFFFFABRRWN4k8R2Oi+XAyyXd/PkW1lAN0sp9cfwr6scAU0gbNS7uLe0t3uLqeKCFBl5JGCqo9yelSRusiB0YMrDKsDkEetcRFot5rNwmoeLGiuCpDQaah3W1ufU5/1r/wC0eB2FJHY6p4YkM3h1TeaZnMmku+NnPJgY/d/3Dwe2KwWJoufJza/gVyTS5rHc0Vm+H9c07XbM3GnzFtjbJYnXbJC/dXU8qfrWlW7TW5NwooopAFFFFABRRRQAUUUUAFFFFABRRRQAUUUUAFFFNkdY42kkYKigszE4AA70AOrNvPEGhWUhjvNa063cdVluUUj8Ca42e5vvGTNcSXFxZ+HiSLe3iYxyXq/89JGHIQ9lGMjk+lXrHRdHsYhFZ6XZQIOgWFf54yaUpwg7PcydR9Dc/wCEs8Lf9DJo/wD4Gx/40f8ACWeFv+hk0f8A8DY/8azPsdn/AM+lv/36X/Cj7HZ/8+lv/wB+l/wqfbQ7MXPI0/8AhLPC3/QyaP8A+Bsf+NH/AAlnhb/oZNH/APA2P/Gsz7HZ/wDPpb/9+l/wo+x2f/Ppb/8Afpf8KPbQ7MOeRp/8JZ4W/wChk0f/AMDY/wDGj/hLPC3/AEMmj/8AgbH/AI1mfY7P/n0t/wDv0v8AhR9js/8An0t/+/S/4Ue2h2Yc8jT/AOEs8Lf9DJo//gbH/jR/wlnhb/oZNH/8DY/8azPsdn/z6W//AH6X/Cj7HZ/8+lv/AN+l/wAKPbQ7MOeR0Gn6vpWoNtsNTsrs4ziGdXP6GrtcJqHh7RL/AAbjTLcSKcpLGvlyIfVXXBB/GpdB1bUNE1W30fWrp76xu28uxv5MeYknUQynuSM7W74weetxlGfw7jVTXU7aiiig1CiiigAooooAKKKKACiiigAooooAKKKKACiiigAooooAKKKKACiiigAooooAKKKKACiiigAooooAKKKKACiiigAooooAKKKKACiiigAooooAKKKKACiiigAooooAKKKKACiiigAooooAKKKKACiiigAooooAKKKKACiiigAooooAKKKKACiiigAoJwM1R1vVtP0Wwe+1K5S3hXgE8lmPRVA5Zj2A5rlJ49X8V5OprNpWiH7tirbbi6X1mYfcX/YHPqe1TOcaceabsgSbdkWtS8TXeqXEmm+E1jlKMUuNTkGbeA9wn/PV/YcDue1S6FolppRlmVpbm+uMG5vJzummI9T2HoowB6VoWtvBa28dtbQxwwxqFSNFCqo9ABUleTiMXKr7q0j/AFudVOio6vcKKKK5DYxtZ0Jbq7XVNOuX03V41CpdxDO9Qc7JF6OvseR2IqxofihmvU0fxDbppuqNkRENmC6A7xOe/wDsH5h79a0aq6rp9lqlk9lqFulxA/VWHQ9iD1BHqORXdh8a4LlnqvxX9djCpRvrHc6CiuJg1DV/Cnyag1xrGhjpcgb7q0Ho4HMiD+8PmHcHrXX2N5a31nFeWVxFcW8q7o5I2DKw9iK9SLUlzRd0c2qdmT0UUUwCiiigAooooAKKKKACiiigAooooAK5b4nsz+GBp6O0f9o3UNmzKcEI7jfj/gIYfjXU1ynxL/49NE/7DNv/ACaqi7O5E/hY9I0jjWONQiKAqqOgA6ClFLRXAZBRRRQAUUUUAFFFFABRRRQAVl+LLNb7w5fwY+cQtJE3dZE+ZGHuGANalQah/wAeFz/1xf8A9BNXTbU00J7G74av/wC1PD2nan3urWOY49WUE1oVznwv/wCSc+Hf+wdB/wCgCujrrluzoWwUUUUhhRRRQAUUUUAFFFFABRRRQAUUVHdXFvaW0lzdTRwQRKXkkkYKqKOpJPAFAElcZ4x8dR6dqDeH/Dtn/bniMpu+yo+2K1U9HuJOka+3LHsO9Yl94o1vxwzWvhCWXSfD5ysuutHia5GeVtUYcA/89WGP7oPWtbw5oWl+HtP+w6TaiGIsZJGLFpJnPV3c8ux7kmgDKsfGPiPwpJt+IAtr3S5SCNa0+ApHasx+5PFyVQZwJBkY+9jrXpNtNDcwR3FvNHNDIoZJI2DKwPQgjgiucZVZSrKGUjBBGQR6GuRi0nWvBc733ghFutMZi9z4fmk2x8nJa2c/6puvyH5D/s9aAPVaKw/B3irR/FVi9xpkzrNC3l3VpOhjuLaTukiHlT+h6gkVuUAFFFFABRRRQAUUUUAFFFFABRRRQAUUUUAFFFFABRRRQAUUUUAFFFFABRRRQAUUUUAFFFFABRRRQAUUUUAFFFFABRRRQAUUUUAFFFFABRRRQAUUUUAFFFFABRRRQAUUUy4mit4XmnkSKJAWd3bCqPUk0APrnfEXidLK6/srSrY6nrDLkW6NhIR/elfoi/qewrMuda1TxOTB4deTT9KyRJqjJiSYdxAp7f8ATQ8egPWtLRdKsNHtDbWMHlqzF5GJLPIx6s7HlifU1z18TCjpu/63/wAi4U3P0KGmaHJ/aA1jXboanqoz5blcQ2wPVYk/h/3jlj69q3KKK8epVlUlzSZ1xgoqyCiiioKCiiigAooooAK5+40a80q8k1TwtJHBLIS9xp8hxbXR9f8Apm/+0OPUGugorWjXnRd4sicFNakfhvxHZ60ZLfy5LPUYP+Piyn4ljPr/ALS+jDINbVctrui2mrCKSRpLe8gyba7gbbNCfVT6eoOQe4qGw8SXmkTx6d4s8tA7BLfVI12wTHsJB/yyf6/Kex7V7NCvCv8ADo+3+RyTg4b7HX0UAggEcg0VqSFFFFABRRRQAUUUUAFFFFABXKfEv/j00T/sM2/8mrq65T4l/wDHpon/AGGbf+TU0RU+FktFFFcJkFIzKqszsqqoyWY4AHqTS14h+1LLcalqXgLwNJqE1ho/iPWPJ1OSJ9hkjXbiMt2BJ/lTSuxpXPX5Nc0WPT59Rk1jT1srf/XXH2lPLj/3mzgfjV2GSOaFJoZFkjdQyOpyGB6EHuK8F+OPwy8F+B/gl401Dwto/wDZclxpsdvMkcrlHUTIQSpJ+b3rG8X/ABi8QaFfaN4M8M3Wj6U1l4ftbq6vdSs57kSu0SlYkSJWI4x8x4qlG+w7XPpaivANR+Lviq++GPhjxHa6l4Z8KX2omdLyPVreeV3eNto8iFFLsDySccZFZifHLxlc/A+z8WWdppL64vidNFmHlMLe4U5+ZVPKZ469PSjkYcrPpKisTwTH4oj8Owr4yuNMuNY3MZn09GSHaT8oAbnIGAT3rbqCQqvqP/IPuf8Ari//AKCasVX1H/kH3P8A1xf/ANBNVD4kJ7Fv4Yf8k58O/wDYOg/9AFdHXOfDD/knPh3/ALB0H/oAro67Z/EzojsgoooqRhRRRQAUUUUAFFFFABRRXD+L/Gl5HrE3hbwjYrf65GiNdTT5W009XGVaVurMRyI15Pcgc0AbXjLxZo/hW0il1KSSS4uG8u0srdPMuLp/7saDk+54A7kVxD6PrPjG6j1HxyqQ2CMHtfD0Um+FCDlXuGH+uf8A2fuD0J5q/wCGvDEGl3kur393Nq+vXC7bjUrkDeVznZGo4jjHZF/HJ5roKAEACgKoAAGAAMACloooAKKKKAOe8SeGItSvY9Z0y8l0bX4F2walbqCxXOfLlU8Sxn+634EHmrvhfx1KNTh8OeMrWLSNakJW2lRibTUMd4XPRvWNvmHbcOa1Kpa5pOm65pkumatZxXlpKPnjkGRnsR3BHYjkUAdnRXllvrevfD2Nv7Ylu9f8KRgn7aRvvdOT/pqOs0Y/vj5wOoPWvTrS4gu7SG6tpVlgmRZI3U5DKRkEfUUAS0UUUAFFFFABRRRQAUUUUAFFFFABRRRQAUUUUAFFFFABRRRQAUUUUAFFFFABRRRQAUUUUAFFFFABRRRQAUUUUAFFFFABRRRQAUUUUAFFFFABRRWR4l8T+HfDVq114g1zTtLhA3Frq4WPj2yeaANeivnnxx+138LdCEsWjNf+IrlMhRaw+XET/vvjj3ANeNav+1L8Y/HUzad8PfCa2JclQ1naveTjP+0RtB/4DQB9peLfE2keGLBbrVbkRmQ7YYgR5kzeij+Z6Dua43w/eWnxBabUL3VtP1CytJ/L/suxuVmghkGCPOdeJHxg4+6PfrXyvB+z7+0F8ULyHUPH2uNZR4JVtTvDI8YPULEmQv04r3H4G/DZfgONT03VNWub6w1WaNo9Q8sLbRuoIw45MbHOMklTgcis6/P7N+z3/H5Dhy83vbHtYAAAUAAcADtS0gIZQykEEZBHQilrwDvCsP4g6ldaP4D1/VrF1S7stNuLiBmUMFdIyykg8HkdK3KwfiJp93q3gDxDpdhF5t3d6ZcQQR5A3O0bBRk8Dk1ULcyuJ7GB8JvGE2qfBHRfGviu+gjkk037Xf3JURooGdzYHA4HaqvgT41+A/GWurouk3WoRXksD3FsLyyeBbqNRlmjLD5hjmvMPDPhv4pa18DZvg/rXgM6DCujtbw6w+qRSK8yMHRWjXJAYjaTk4Gah+FPw98cQeKtDutf8G6tZXehWM0Vnqd94nF3bxS+UVXy4AMhC2OM4Aro9lD3m3+KM+aWh6X4e+PHw/1zxJZ6DbSavb3F/IYrKW702SGK5cfwozDkntV5PjJ4Jf4ey+OBcXv9mRX39nvH9mP2gXG8J5fl9c5IP0rwvRPh/wDGrUvGHg6+8WaPqtw+j67HdX17c69HNA6Bj88NuMCMAemSfSuhm+EfjBvjlLYLYJ/wrqfxEniWWYSrzOsZPlbM5/1h9MVTpUr7/iJTkekeK/jr8PPDPiCfRNSvb9p7Uot7Lb2MksNmzYwsrqMKeeR2qz4u+M3gbw14gh0O6ub+9u5IIrhv7PsnuEhik+47svABBB+hrxPxX8KPH1j4v8Z29v4X1bxJoniO/ku0ax8TLYQlX6pPEQd2On0FanxJ+H/xCHiTTG+H/gyfSNRs7GztIPENrryohjRFDRXELD96FIIBxyAOvSj2VLTX8UHNI+nAQQCOhGRS1HaiZbaJbhleYIokZRgFscke2c1JXGbBUdzBDc28lvcQxzQyKVeN1DKwPYg9akqO5nhtreS4uZo4YY13PI7BVUepJ6U1e+gnbqYEEWr+FTu0lZtU0UH5tPZt09svrCx+8v8AsH8D2rlfG37Snwu8Iawmlarf6g9w0KzHyLNnCg5+VuhVgQcqRkV1UEur+Kzt0tp9K0U/ev2XbPcj0hU/dU/3z+A71j+J/wBn/wCE/iS/W/1jwstxdCMRmUXUqswGeWwwy2Sck8mvoKXtOT978X9b+f8ATOCXLze5t/WxyQ/a7+DR63+sD66c3+NPX9rj4MH/AJimqj66dJWi/wCy18E2/wCZUkX6X83/AMVUT/sqfBVv+Zcul+l/L/8AFVQFdf2tPguf+YzqQ+unSf4U9f2sPgqf+Y9fD66dL/hSN+yd8F2/5gd+v01CT/Gom/ZI+DDf8wrVB9NRegC0v7VnwUP/ADMl0Prp03/xNPX9qj4Jt/zNE4+unz//ABNZrfsh/Bo9LHWV+mot/hSL+yD8Gwcm01th6HUT/hQBsL+1F8E2/wCZtYfWxm/+JqVf2nPgo3/M4oPrZzf/ABFYEn7IHwdZSFt9cjPquoHj8xULfsd/CMnKtr49vtw/+JoA6pf2lvgo3/M7W4+ttN/8RVLVPjN8NPGmp6BofhnxVbahqMmrQukCxSKSqhiT8ygcCubl/Y2+FLfduvEMf0u1P80qKz/Zu8DfDfxT4e8VaFfazLew6pHGqXMyNHh1YHgKD+tNEz+Fnt1FFFcJiFcn8UPAOg/ETw8uj66s8fkyie1urd9k1tKOjo1dZXLfEL4geE/AVnBc+JtUW1Nw223gRGkmmPfai8n69KavfQaOOPwShuvDmtaTrfjzxTrcmq2a2X2i9nD/AGeIOr/InTJKjJPNWfFHwa0/VNT0/WNH8T674b1e00+PT5LzTpFBuoYwAokUjBIx1rofh18SvCfj6W8g8O3dy9zZBWuLe5tXglRWztO1hyDg9K7HB9DT5pId2eVa/wDBez1W08POvjPxNa6xoSSxw6us6vcypKcuHJGPpjoKgtvgToNv4HXwmmuarJbL4gXXfPl2vKZV/gJ7g9z1r0/XNV03QtLn1TWb6DT7G3AM1xcPsSME4GT25IFWbeSO4hjmhYSRyoHjZeQykZBHsRRzMLsfRQetFSSFQX+PsNxnp5L/APoJqeoNQ/5B9z/1xf8A9BNVH4kJ7Hx9pvhT9rSbT4Ljw/q2qrpEiBrFU1SFQsJ+4AC2Rxjipz4X/bNTpqmtH/uJwH+tfYfwu/5Jx4d/7BsH/oArpK7Z/Ezojsj4W/sL9tBP+Yhrp/7frc/1pP7M/bRT/l515v8At6tj/WvuqipGfCht/wBtJP49fP8A21tj/Wkz+2kn8HiA/jan+tfdlFAHwn9q/bSX/lj4gP8A2ztTS/2p+2gn/Lp4gP8A262x/pX3XRQB8KHxB+2dH10/xAf+4fAf6U3/AISz9sqPrpmvH/uEwn/2Wvu2igD4RPjr9sWPrpOun/uCRH/2SvSf2etV+J8nimXVfijDdWtzr2+yijubNbYmS2QSIwUAA5R5Bn/YxX1LXD/G2xaXwQ+tQRs13oFxHq0G37xEJzIo+sZkH40AaVFRWtxDd2sN3bOJIJ41kjYdGVhkH8jUtABRRWN401PVtI8O3F7oehya5qIKpBZJKI97McZZjwqjqT6CgDZory34U/EvX/EfjvXPBPizwxbaNq+lW6XBazvPtELIxGAT2bkfrXqVABRRRQByXxSzeaDbeGYZmiuPEN7FpqlfvCNjumI+kSvXqEEUcEEcEKBI41CIo6AAYArzjRUj1z4xuzR74fDOncMeguro9vcRJ/5Er0qgAooooAKKKKACiiigAooooAKKKKACiiigAooooAKKKKACiiigAooooAKKKKACiiigAooooAKKKKACiiigAooooAKKKKACiivIPH37SPwl8Hzy2lz4h/tO9jJV7bTYzMysDggtwoP1NAHr9Br4r8WftneINUuXsPh/4JVHfiKW8LTyk+ojTj9TXOp4b/at+L8bPqV3qmmaZMeVuphYQEHsI1wzD8DQB9feOfi38OfBcLt4g8W6bbyr/wAu8colmJ9NiZNeD+O/21fDNmGg8G+Gb7VZe0964t4vwUZY/pVDwP8AsT6fGEuPGvi6e6lzue306PYp9vMfJP5CvevA3wP+Fvg3ypNG8H6ebmMcXV0n2ibPrufOD9MUAfKEnxN/ag+LVwYvC2mX+l2L8A6da/Z4gPeaTk/gfwrV8M/se+OvEd62pfETxlFbSSHdII3a8uGPu7EKPzNfbyqqqFVQoHQAcCloA8P8Cfss/CTwyiPdaPLr90OTNqUu8Z9kXCj8jXsmkaVpmj2SWWk6faWFsgwsNtCsaD8FGKuUUAFMnijnheGaNJI3Uq6OMhgeoI70+igDirjQ9T8MsZ/Dqvf6V1fSmb54R3MDH/0WePQjpWjourWOsWn2qwm3qDtkRlKvE3dXU8qR6GukrnvEPhmO+u/7V0u4OmawoAFzGuVmA6JKnR1/UdjXPXwsK2uz/rf/ADLhUcPQt0Vh6Zrki366Pr1qNN1Uj5F3ZhufeJ/4v904YenetyvHqU5U5cslqdcZqSugoooqCgooooAKKKKACiiufn1i91a8k0zwrHHPJG2251CUZtrY9wP+ej/7I4HcitaNGdaVooidRQV2Tat4n0iwun09Lhb3VFZVGn2rCS4LMMjKA/KMc5bAA70un+GrzVriPUfFhjk2EPBpcbbreAg5DOf+Wr+5+Udh3r5M+N3wb+LHw18bXfxU8DeItS1tnkae7uYxi7iz94PGOJI+OwwB1HGa9N/Z8/ao0Hxibfw/458jQtfYiNLgnba3LfU/6tj6Hj0PavYoUI0Vdb9/8jknNzeux9KjgUUisGUMpBBGQR3pa2JCiiigAooooAKKKKACiiigArk/iX/x66J/2Gbf+TV1lcn8S/8Aj10T/sM2/wDJqaIn8LJqKKK4TIDXz54svLLRv2thqHimW1torjw55Xhy6v8A/j1iuR94EngHOc9+fcV9B1keKfDPh7xTp4sPEejWWq2ytuWO5iDhT6jPQ/Sqi7DTPnuX4ieMdW0H4s6Trd14abUNB0JZINU8Oh03F8nAkLZOPwwc1W1NE0P4ReFLzWvG3jrUNY8ZNbTBLfVUtgX8rPliVxthjwwyeSSBXvekfDrwLpGjX+j6X4V0u0sNRj8q9hihwJ0/uuepH41a1jwX4T1jw5a+HNU8P2F5pFoqLbWksW5IQowu3uMDiq5kVzI+RrybVdd+A/xP03U9d1m4tvDmp28likuqrdthjtaOSZRiVOc8YGQD2rovHN9e6Lo3w58F+HPFWtXuharby3V3cpr0cE8swVT5AumBVFXPC/hX0lpHgPwZpGmahpmmeGdMtLHUUCXlvHABHOoGAGXoeKrv8NvAMnhiPwzJ4S0p9HilM0do0AKJIerDuCfXNHOg5kcl+zLJ4oHhnWLLxHqa6jFa6iU0931OO+mjhKg+XLLHwWHvjrXrNZHhXwz4f8K6adN8N6PZ6VZlzI0VtHtVmIxuPqeOta9Q3dksKg1D/jwuf+uL/wDoJqeoNQ/48Ln/AK4v/wCgmnH4kS9iz8Lv+SceHf8AsGwf+gCukrm/hd/yTjw7/wBg2D/0AV0lds/iZ0R2QUUUVIwooooAKKKKACiiigApk8Uc8EkEyB45FKOp6EEYIp9FAHlvwtaa10G58OXQIuPD97Lppz/FEp3Qt+MTJXWVzusRSaN8YhIGAs/Eem9PS6tj/NonH/fuuioAK5T4tXul2XgLUf7b0fVtX0y4C211baZGzzmNzgsApBwO5BzXV0AkdOKAPmv9mbSprL4s+IbrwdouvaV4AnslyusQlZJLoEY2FvmIA3dSf5V9KUEk9STRQAU2WSOGJ5ZWCxopZ2PYAZJp1cp8U3mm8Lf2FaTGK7125i0uFh1USnEjD6Rhz+FAGx8E7e4k8ISeILyPZda/eS6kykcrG5AhX8IlSu5qGytobOygs7dAkMEaxxqOyqMAfkKmoAKKKKACiiigAooooAKKKKACiiigArG8UeILfQI7RprS8u5LufyIYrZAzltrN3IGMKa2a474j/8AIT8Lf9hNv/SeWtKUVKVmRNtRuh//AAm5/wChV8Q/9+Y//i6P+E3P/Qq+If8AvzH/APF0UV0+yh2MueXcP+E3P/Qq+If+/Mf/AMXR/wAJuf8AoVfEP/fmP/4uiij2UOwc8u4f8Juf+hV8Q/8AfmP/AOLo/wCE3P8A0KviH/vzH/8AF0UUeyh2Dnl3D/hNz/0KviH/AL8x/wDxdH/Cbn/oVfEP/fmP/wCLooo9lDsHPLuR3Pj+G1ga4uvDevwQJy8jQR4Qepw/SuyHIrzfxz/yKOp/9cD/ADFejr90fSsa0IxSaLpybbTFooorA1CiiigAooooAKKKKACsDxb4iGkLFZWMIvdYuwRa2oOB7yOf4Yx3P4Dmjxb4iGkLFZ2UIvdXu8i1tQcfV3P8MY7n8BzWVoWkmxaa9vLg3uq3ZDXV0wwW9EUfwovQL+J5pTmqauy6dN1HZbFJNB1iVfNvPGmvfaH+aQW0kccQY9QilCQvpyad/wAI9qH/AEOnif8A8CIv/jdb9Fcn1ur3/I6/q1LsYH/CPah/0Onif/wIi/8AjdeQN+yh8O7rXL/VdU1HXb17u4efy/OSNULHJHC88k+le/UVLxNR7saw9NbI8/8ACnwq0bwhamLwlqV/pDgfK8ccByR03ny9zD2JrvfCPiKTUJZNJ1aFLTWrZcyxKfkmTtLET1U/mp4NPrM1/SI9Uiikjme0v7ZvMtLuMfPC/wDVT0KngitqWJbdqn39jKphla8Nzs6K5zwj4ik1CWTSdWiS01q2XMsSn5Jk7SxE9UP5qeDXR10tWOVMKKKKQBRRRQAUUUUAFFFFAFLW9J0/WrBrHUrVLiFiGAbgqw6MpHKkdiOa5OZtX8J/LqLT6toi/dvQu64th6SqPvqP74GR3Heu5oPPWpnCNSPLNXQJtO6MS1uILq3jubWaOeGRdySRsGVh6gipax9S8M3el3MmpeE2jhZ2L3GmSHFvcEnkr/zzf3HB7jvUmh63aaqZYVSW1voOLizuF2zRH3HcejDIPrXk4jCSpe8tV/W51U6ylo9zUooorkNgqrquo2Wl2T3moXCW8C/xN3PYAdST2A5NUNZ1xba8XS9Ntm1LV5BlLWI4EY/vyt0Rfc8nsDVnQ/C7LeprHiC4XUdUXmIAYgtPaJD3/wBo/MfbpXdh8E5+9PRfi/67mFSslpHczrfT9Y8VYk1FbjR9EOCtqDsubsf9NCP9Wh/uj5j3I6V2FhZ2thZxWdlbxW9vEoWOKNQqqB2AFT0V6kUox5YqyObd3e4V88ftB/sv+GfHouNc8KiHQPEbAu2xcW123+2o+6x/vD8Qa+h6KYHwT8O/jP8AE/4B+IU8E/ErS72/0aJgqRztulhjHG63l6On+yTj0xX2l8PPHXhfx/oEet+FdWhv7ZwN6g4khb+66HlT9ab8RvAfhb4g6BJovirSob63IPluRiSFsfeR+qmvi34hfBz4ofs++IX8a/DfVb2/0WM5eWFcyRJ12XEQ4dP9oDH0oA++KK+ev2fP2nvDPxAEGieJ/I8P+I2wqq74trpv+mbH7rH+6fwJr6FoAKKKKACiiigAooooAK5P4l/8euif9hm3/k1dZXLfFBHXwx/aCRtJ/Z11DeMqjJKI434/4CWP4VUVd2IqfCx9FNjdJI1kjYOjgMrDoQehp1cBkFFFFABRRRQAUUUUAFFFFABUGof8eFz/ANcX/wDQTU9ZXiy8Fj4cvp/4zC0cS93kf5UUe5YgVdNNySQnsa/wu/5Jx4d/7BsH/oArpKz/AA1Yf2V4e07TeP8ARbWOE49VUCtCuyTu2dC2CiiipGFFFFABRRRQAUUUUAFFFFAHB/G+18vwlB4kiDfaPDl5HqalRyY0ysy/QxM/5CtSKSOaJJoWDxuoZGHQqRkH8q6O9toL2zms7qJZYJ42jlRhwysMEH6g15X4ct/iB4f0O10JvBa6munobeK7TWIkE0aEiNtrLkHbtyD3oA7Oiuc/tDx7/wBE5P8A4PIP/iaP7Q8e/wDROT/4PIP/AImgDo6K5z+0PHv/AETk/wDg8g/+Jo/tDx7/ANE5P/g8g/8AiaAOjrmrGNNc+MdrEQXg8Nae1y/90XNzlEH1Eauf+B07+0PHv/ROT/4PIP8A4mtn4XaLqmm2Oqalr1rFa6tq+oSXU0McokEUYASKPeOGwiL07k0AdhRRRQAUUUUAFFFFABRRRQAUUUUAFFFFABXHfEf/AJCfhb/sJt/6Ty12Ncd8R/8AkJ+Fv+wm3/pPLWtD418/yM6vwj6KKK6zEKKKKACiiigAooooAxfHP/Io6n/1wP8AMV6Ov3R9K848c/8AIo6n/wBcD/MV6Ov3R9KxxHwr5/oXS+Ji0UUVym4UUUUAFFFFABWD4t8RLpCxWdnCL3V7vItbUHGfV3P8MY7n8BzW9XnvhFVn1XxHqE37y7Orz23mtywijICID2UZPHvSlJQi5MqEeeSiXtB0k2LTXt7cfbdVu8G6umGN3oij+FF7L+PWtSiivOnNzd2ejGKirIKKKKgoKKKKACiiigDM1/SE1OKKSOZ7S/tm8y0u4x88L/1U9Cp4IrQ8I+In1CSTSdWiS01q1UGaJT8ky9pYieqn81PBp9YHjSNEj0vUEGy7ttTtVhmXhlV5kR1z6MpII712Yaq21Tlt08jkxFJWc1ud/RRRXScoUUUUAFFFFABRRRQAUUUUAFY3iXw5Y60I5maW0v4Afs17bnbLCfQHuvqpyDWzRTTA4dNavNFuU0/xYsUG47YNSjG22n9mz/qn/wBknB7GkjvdU8UO0Ph5mstMyVl1Z05f1Fup+9/vngdga63W2sI9IupdUjikskiZpllUMpUDJyDwa474R+NR4qj1C3nWOGa3mLQxKMYgJ+UY9un5VgsNRUufl1/Arnm1a51fh/RNO0Oza20+ErvbfNK7FpJn7u7Hlj7mtKiit229yUrBRRRSAKKKKAChgGBVgCD1BoooA+Zv2gv2VNB8XfaNf8B+RoWunLva422ty3XoP9Wx9Rx7d68r+Fvx/wDiB8G9eHgb4saXqF7p1uwjDTjN1bJ0DIx4lj9Ofoe1fdtcf8U/ht4R+JWhNpPinS47jaD5Fynyz27H+JH6j6dD3FAGp4J8W+HfGmgw654Z1W31GxlAw8Tcof7rDqrD0NblfAPjH4b/ABa/Zr8SP4r8Falcaj4e3/vJ4kLIUz9y5i6f8CHHoRX0V+z/APtJeE/iVHDpOqNHoXiUgA2kr/urg+sTnr/unn60Ae6UUUUAFFFFABTZEWSNo5FDIwKspGQQe1OooA87mtb7waTbvb3F74eBzbzwqZJbJT/BIo5aMdmGSBwRxmrtprmi3abrfVrGQe065H4E8V29ZeoeHPD+oyGS/wBD026c9WmtUcn8SKUoQm7vcydN9DE/tDT/APoIWf8A3/X/ABo/tDT/APoIWf8A3/X/ABrQ/wCEK8H/APQq6J/4Ax/4Uf8ACFeD/wDoVdE/8AY/8Kn2MO7FySM/+0NP/wCghZ/9/wBf8aP7Q0//AKCFn/3/AF/xrQ/4Qrwf/wBCron/AIAx/wCFH/CFeD/+hV0T/wAAY/8ACj2MO7DkkZ/9oaf/ANBCz/7/AK/40f2hp/8A0ELP/v8Ar/jWh/whXg//AKFXRP8AwBj/AMKP+EK8H/8AQq6J/wCAMf8AhR7GHdhySM/+0NP/AOghZ/8Af9f8aP7Q0/8A6CFn/wB/1/xrQ/4Qrwf/ANCron/gDH/hR/whXg//AKFXRP8AwBj/AMKPYw7sOSRhX/iPQ7MES6nbvJ/DFC3myMfQKuSTUug6RqOt6rb61rVq9lY2reZY2EmPMaTHE0voR/CvbOTzXU6bo+k6YP8AiW6XZWfY+RAqfyFXquMYw+Hcap66hRRRQahRRRQAUUUUAFFFFABRRRQAUUUUAFFFFABRRRQAUUUUAFFFFABRRRQAUUUUAFFFFABRRRQAUUUUAFFFFABXHfEf/kJ+Fv8AsJt/6Ty12Ncd8R/+Qn4W/wCwm3/pPLWtD418/wAjOr8I+iiqmtLcvo18lkSLpraQQkf39p2/riusyOB8TfHD4c+H9buNHutWubu7tTi6FhZyXC257h2UYFd3oGr6dr+i2mtaRdLd2F3GJYJlBAdT355H418vfC7xVceGfgKR4T1Hwpp/ibTbi7l8R2uuAi4nZSSAoyCzHGBnjtW/pHjm6uPGHwZ1rVNQttE03VdKvHu4IZPs9mZMHGVzt64xnuayU+5Tie3fETxfpfgXwy/iDWkuGtFmihIgTc26Rtq8E9MmmaL400nVvHWseDbVLn+0tJt4bi4LJiMpIAV2nPJ5Ga+YfF+uz6/8Kfibctq0upWaeN7ZbKQzmRFi8wYCdgv04rqta0fUtd+LXxfsNGvrux1P/hHrGa0mtpSjiWNUZRkc4OMH60e0dw5T6Zor55+CfjXVvin8StI1VLy7j07w94djXUoldljm1CUlTuXo2ApPtX0NWkXdXJasYnjshfB+qMxAUW5JJOABkV20fiDQWUbdb008drpD/WuA+KFq198OvEFiriNrmwlhDEZCllxn9a+dU/Yj8QBcj4g6fnHaxkH/ALNWWI+FfP8AQql8TPs5dY0lvu6pYt9Lhf8AGpV1Cwb7t9bH6Sr/AI18VP8AsU+Ll/1PxA00/W3lH9ajb9jHx4v+r8e6Wf8AgMwrlNz7dW4t2+7PE30cVIGU9GH518Mt+xz8S1/1fjjSj/20nH9KY37IPxYX/V+NdKP/AG9Tj/2WgD7qyPUUV8J/8Mk/GNP9X400z8L+4H/stH/DKvxxj/1fjWx/DVLgf+y0AfdlefeCv9Z4i/7D13/MV8rD9mP9oCP/AFfja3/DWJx/Svev2ZtB1zwz8ObjQ/El4LzVbTV7pLmYTGXe24c7jyazrP8AdP5GtD+Ij1Ciig9D9K849A8p8L/HTw74k8RR6PpPhzxVOHvjYm8XTibaOQNtJZwcADv7V1fw08c6f48stVutNs7q2XTdTm06QT7cu8eMsME8HNeJfsnab4+ntr6+0nxXp1p4aj8TXX2vTZNPEk02GG7Ev8ORj6YrhE1a+074W6rbLqV3pWiah8R57XWr21Yq8NscZG4fdB9fauh04vRHOqkt2fahB9KMH0NfItjqP/CJ+LvHth8G9evtY0G28JNeEi7a7jtrzcACjHPzbcn8/SqHhiXw7puq/C3V/h/4y1PV/FusX8K69btqDzGSNgDN5sZOECncPwz71PsfMftfI+p/iR4rs/A3gnUfFeoWtxdWtggd4oMb2BYLxnjvWzpd2moaZa38assdzCkyq3UBlBAP518NeOZvD2seBfiJrfivxbqUfjyPWpbW30171kBt1kG2MQ9GTGTnttFfbHg7/kUNF/7B9v8A+i1pTgopFQm5NmrWB46Yrpdjjvq1iP8AyYSt+uf8ef8AILsP+wvY/wDpQlVhv4sRV/4cj0Ciiiu44AooooAKKKKACiiigAooooAKKKKAK+o2drqFnJaXtulxbyD543GQ31rlPhtouhWsVxf6d4eu9Kn894/9LH7wrx05+4e1dk5whJOMDrXNfDe4t7nQZJrbW7zWIzcuPPukKOpGPlwewoA6aiiigAooooAKKKKACiiigAooooAbNHHNE8M0aSRupV0cZDA9QQeor5Y+P/7J+m61JN4k+GbRaPqwPmPpu7ZbzN1zGf8Alm3t936V9U0UAfDvwh/aT8ZfDXWB4H+MWnahPb2zeWbmZD9stR23Z/1qe/XHQmvs7wr4i0TxTokGteHtTttSsJxmOaB9w+h9D6g8iuY+L/wn8G/FHRjY+JNPH2lFItr+EBbi3P8Ast3H+ycivjfXvCfxi/Zd8Strnh68k1Lw1LJ88yIWtpl7LPH/AANj+L8jQB+gdFeN/AT9oTwf8UreKxMi6N4iCjzNOuJB+8PcxN/GPbqPSvZKACiiigAooooAKKKKACiiigAooooAKKKKACiiigAooooAKKKKACiiigAooooAKKKKACiiigAooooAKKKKACiiigAooooAKKKKACiiigAooooAKKKKACiiigAooooAK474j/8AIT8Lf9hNv/SeWuxrjviP/wAhPwt/2E2/9J5a1ofGvn+RnV+EfRRRXWYnJeIfhr4A8Qam2qa14Q0i+vmOXnltxvY+5HX8at634G8H63o9no+reGtMu9Psv+PW3kgGyH/dHauiopcqHdnMD4feCRpV1pK+F9MSwu547i4tlh2xySJjYxA7jAxWna6DpFjrV9r1jptrDq17EsVxchcNKqD5FY+gwK1KKLILnnnwM+Hcnw+0XVUvrmzutU1bUZL67ktIykS7j8qIDzgDP516HRRQlZWBu5i+Of8AkUdT/wCuB/mK9HX7o+leceOf+RR1P/rgf5ivR1+6PpWWI+GPz/Qql8TFooorlNwooooAKKKKACvPvBP+s8Rf9h67/wDQhXoNee2gfw34jvtO1JQtvq1/Ld2N3/A7yYJhb+64xx/eHTnipqpyptI0otKomzoqKKK8w9Ep6PpOl6Pbvb6Tp9rYwvK0zpbxhFZ26sQO59arw+HfD8OnXenRaJp6WV5I0t1bi3Xy5nbqzLjBJ9TWpRTuxWRm6DoGh6Bava6Ho9hpkDnc8drAsasfU4HNQaR4U8MaPqMupaT4d0qxvZs+ZPb2qI7Z68gZrZoouwsjEv8Awh4Uv7+5v77w3pFzd3UZiuJ5bRGeVD1ViRkitmGOOGJIYUWONFCoqjAUDgAU6ii7CyCuf8ef8guw/wCwvY/+lCV0Fc7q5fxBrFtoGmr5hs7y3u7+4/5Z24jcOE93bA+XsDk1vhYt1U+xjiGlTfmehUUUV2nCFFFFABRRRQAUUUUAFFFFABRRRQBn+ItXs9D0mXUdQlMNumAX2FgpPAyBzjNc78MfE1vrVlLatqNne30TM8htLZ4o1Qn5fvDrV3x3q2lQadLo93BNqF1fRMkdhbKHmkU8bsdFA/vEgVjfBDT9L03wvJHaXHm3zTE3qOu2WJuioynlcD8+cU+V2uK6vY76iiikMKKKKACiiigAooooAKKKKACiiigAqK8tre8tZbW7gjuLeVSkkUihldT1BB4IqWigD5G+Pf7JyS3Enin4TSf2ffxt5zaV5hRCw5zA/wDA2einj0IrC+Cv7UWv+ENSHgv4yWV6fszeT/aEkRFzbn0mT+Mf7Q5+tfa1ecfGr4M+DPipphi1yzFvqaLi31O3UCeL0BP8a/7J/DFAHc6DrGl69pMGraLqFvqFjcLuingcOjD6ir1fnzdWHxn/AGV/EpurSQ6l4Ynl5Zdz2VyM9HXrFJjvx9SK+sfgZ8dfBfxVskhsLkadripmfS7lgJAccmM9JF9xz6gUAeq0Vm6/rul6FAs2pXSxGQkRRgFpJT6Ig5Y/QVhp4yvLgb7TwlrLxn7rTNDCSPXaz5/OqUXa5LnFbnXUVyL+LNaBGzwbfN9b23H/ALPTf+Et1z/oS7z/AMD7f/4qjkfdfehe0idhRXH/APCW65/0Jd5/4H2//wAVR/wluuf9CXef+B9v/wDFU+R9196D2kTsKK4//hLdc/6Eu8/8D7f/AOKo/wCEt1z/AKEu8/8AA+3/APiqOR9196D2kTsKK4//AIS3XP8AoS7z/wAD7f8A+KpU8Wa0T83gy9A9r23P/s9Lkfdfeg9pE6+iuRbxv9lYHVfDms2UR6zLGk6J7t5bEge+K6XTNQstTso73T7qK6t5B8skTblNDi0rjUk9izRRRUlBRRRQAUUUUAFFFFABRRRQAUUUUAFFFFABRRRQAUUUUAFFFFABRRRQAUUUUAFFFFABRRRQAUUUUAFFFFABXHfEf/kJ+Fv+wm3/AKTy12NcR8VLq1srvwxcXlxDbQrqjbpJXCqP9Hl6k8VtQ+Nf10M6vwlmisj/AISfw1/0MOk/+Bif40f8JP4a/wChh0n/AMDE/wAa7OV9jC6Neisj/hJ/DX/Qw6T/AOBif40f8JP4a/6GHSf/AAMT/GjlfYLo16KyP+En8Nf9DDpP/gYn+NH/AAk/hr/oYdJ/8DE/xo5X2C6Neisj/hJ/DX/Qw6T/AOBif40f8JP4a/6GHSf/AAMT/GjlfYLoZ45/5FHU/wDrgf5ivR1+6PpXkvjHxF4fuPC+oQwa5pksrxbURLpCzEkYAGeTXrS/dH0rDEpqMb+f6GlJ6sWiiiuQ3CiiigAooooAKp6zpllq+nTafqECz28owynt6EHqCOoI6VcooTsBwNpPe+H9Si0LXZmmilO3TtRfgTjtFIe0o9f4hz1zW9WprOmWWsabNp+oQLNbyjDKeCPQg9iDyCOlcba3F7oGpRaFrkzTRSnbp2ovwJx2ik9JR+TDkc5FYV6KkuaPzR00a1vdkb1FFFcJ2BRRRQAUUVh6heX2qam/h/w/IEuFA+3X2MpZIew7NKR0Xt1PvpSpSqOyIqVFBXYaheX2q6k/h/w/IEnXH26+xuSyU9h2MpHRe3U+/W6BpFjoemR6fp8WyJMsxY5aRj952PUsTyTRoGkWOh6ZHp+nxFIkyWZjl5GP3nY9WYnkmr9eilGC5Y7HnSk5vmkFFFFAgooooAKKKKACiiigAooqjrerafoti17qVwsEIOBnlnY9FUDlmPYDmhK4XLxOASTgVyGoeJbzV7iTTvCQjdUbZcarIu6CH1EY/wCWr/T5R3Paqs0WreLDv1RZtK0U4KaerbZ7kf8ATZh91f8AYH4ntW/awQ2ttHb20McMMahUjRQqqPQAdK5K+MjT92Gr/Bf5/kaQpOWr0RQ0LRbPSVkeNpbi7nwbm8nbdNOf9pvT0AwB2FRazocd5dJqVjcPp2rRgCO8hAywH8Ei9HT2P4EVsUV5ir1FPnT1Ol04uPLbQzdD8USLex6P4kt00/U34hkU/wCj3fvGx6H/AGD831611Fc/qmn2ep2T2V/bx3ED9Ucd+xHoR2I5FZEF9q/hMBLw3OsaEuAJwN91aD/bA/1qD+8PmHfPWvWoYqFbTaX5+n+RyzpuHmjt6KgsLy1v7OK8sriK4t5V3RyRsGVh7Gp66CAooooAKKKKACiiigAooooAKKKKACiiigCtqmn2Oq6fPp+pWcF5ZzoUmgmQOjqexB4NfJfxb/ZY0zRPEdv408Ea9PoOmW9wJry1V2823Gf+XZhzkn5Qp6EjntX17XKfEw7tM0uBuUm1a2Vx2IDFv5qKcbX1Jk7JmP4a0maALqmsSNdazNGBJLIdxhXAxEmegHc/xHJNbtBorjlJyd2YpWCiiipAKKKKACiiigAooooAKwL7PhfUf+Ei09WSzdwNVtU+46E488Ds69SR1XOe1b9VNahW40e+gkAKyW0ikH0KmtaM3GS7Cfc7BWDKGUggjII70tYfw+uZLzwLoV1KSXksIWYnudgrcrpas7HQndBRRRSGFFFFABRRRQAUUUUAFFFFABRRRQAVDe3VtY2kt5eXEVtbQoXlllcKiKOpJPAFY3jTxdpPhW0je+aWe8uDts7C2XzLm6f+7Gnf3JwB3Irim0XWPF13HqXjry1tI332ugQvut4v7rTt/wAtpB6fcU9AetAHceEfFvh3xZbzT6BqkV4IH2SqAVdPQlWAIBHIOMEcjNblec+IvC9vqV3Dq2n3U2j65bKFt9RtQA4Uf8s5F6SR/wCw34YPNWvC/jq4i1KHw542todK1iT5ba6jJ+xagf8Apkx+6/rG3PpuoA7yiiigAooooAKKKKACiiigAooooAKKKKACiiigAqG7tbW7QR3VvDOgOQsqBgD64NTUUAUP7F0b/oE2H/gMn+FH9i6N/wBAmw/8Bk/wq/RTuxWRQ/sXRv8AoE2H/gMn+FH9i6N/0CbD/wABk/wq/RRdhZFD+xdG/wCgTYf+Ayf4Uf2Lo3/QJsP/AAGT/Cr9FF2FkUP7F0b/AKBNh/4DJ/hR/Yujf9Amw/8AAZP8Kv0UczCyKA0XR1YMuk2AIOQRbpx+lX6KKVx2CiiigAooooAKKKKACiiigAqnrOmWWsabNp+oQia3lGGU8EHsQexB5BHQ1cooTsBxsPhnxVbxiCHxZbSRJ8sbXGmb5NvbcwkG4474Gad/wj/i7/oaNN/8FB/+O12FFPTsvuQ7y7v7zyL4wr8SfDXw71XV/DmoQ6xqsUYFvbWujEuSWALf6w8AZPQ9K+adA/ax8aWOpjTvGmk29p5fyzPBYETK3vG7qP1Ffedcx42+H/grxpbtD4o8NabqeRgSSwjzV+jj5h+BqbRvey+5D55W3Z5V4B+KHh3x9CkGkfFXSLW6mG021zpX2a5XP93fKQT6EbhmvbPD+k2OiaXHYafHtiXLFidzSMers38THqTXy/8AEP8AYt8OXqyXXgbxBdaTPnKW17++h+gYfOP1rzc6T+1J8D5d9jJqWraPCOkLG/tSo9UPzJ+Qqr6WSJd3uz74or5A+H37aVoWWy+IHhaa0mVtr3WnHco9d0TnI/An6V9F+Afir8PvHUUZ8M+KdPvJnAP2ZpPLnHsY2w2fwpAdpRRRQAUUUUAFFFFABRTLiaK3heaeRIokUs7uwCqB1JJ6VxtzrWqeJnNv4dd7DSuRJqrJ88w9LdT2/wBs8egPWk2ormk7IOtkafiHxPHZ3f8AZOlW51PWGGRbo2EhB6NK/RF/U9hWfpehyfbl1jXLoalq2PkcriK2HdYU/h/3vvHuavaNpVjo9p9msYdik7pHYlnlbuzseWY+pq9Xl4jGOfuw0X4s6adG2stwooorhNwooooAKBRRQBz9xo15pd5JqnhaSO3mkbdcWEhxbXJzycD/AFb/AO0OvcGtzw54js9ZMlv5ctnqMA/0iyuBiWP39GX0YZBqSszXdFtNWEckjS215Bzb3kDbZoT7HuPVTkHuK9HD45r3auq79f8AgnNUodYHU0Vx+n+JLzSbiPT/ABb5cYdtlvqka7beY9lcf8snPoflPY9q7AcjNel0utjnuFFFFAwooooAKKKKACiiigAooooAK5T4lf8AHpov/YYt/wD2aurrlPiV/wAemi/9hi3/APZqaIn8LJaKKK4TIKKK4H41fEN/AWj6emnaW2r69rF2LPS7ENtEkh6lj2UZH500rgjvqK8T8VeNPjD4T+HfifWvFGheHLa4sbFLixu7GZpYvMMiqYpEY5yAxORxxXaX/wATfCHhvw9od54y8RWGlXWpWUVwsb7iWLKCSFUEhcnr0p8rHZncUVyPiD4meAdA0bT9Z1fxVp9tp+pKWsp9zOs4HUrtBJxkU9/iP4FTwra+KW8T2A0S6uBaw3uW8tpTnCHjKng9cY70rMLM6uisrwr4i0TxVo0es+HtRh1HT5HZEuIgdrMpww5APBFatIQVBqH/AB4XP/XF/wD0E1PUGof8eFz/ANcX/wDQTVQ+JCexa+GH/JOfDv8A2DoP/QBXR1znww/5Jz4d/wCwdB/6AK6Ou2fxM3jsgoooqSgooooAKKKKACiiigAooqnreq6bommT6nq17BZWcC7pJpnCqo/x9upoAuVwXiTx1cXWoz+HfA9vDqeqRHZdXspP2LTz3EjD78npGvPqVrJvdQ8RePyY4De+G/CrcFuYr/UFz27wREd/vkH+Gui0jTdP0jTotO0uzhs7SEYjhiXao/xPqepoAy/DXhi20m6m1S7up9W1y5GLnU7rBlcf3EA4jjHZF4+p5rfoooAKp6zpen6zpsum6rZw3lpKPnilXIOOh9iOoI5FXKKAOTsdU8QeAAI75rzxF4VQACfBlv8AT1/2wOZ4gO4+cDqG616Po+p6frGmwalpV5Be2c67opoXDKw9iKxK5S78Paloeoza54FnhsrqVt93pcxIsr455JA/1Uh/56KOf4gaAPUaK5nwX4003xK01kYptN1m1H+l6Xd4WeHnG4dnQ9nXIP6V01ABRRRQAUUUUAFFFFABRRRQAUUUUAFFFFABRRRQAUUUUAFFFFABRRRQAUUUUAFFFFABRRRQAUUUUAFFFFABRRRQAUUUUAFFFFABRRRQBwnxA+EHw58dRSDxF4VsJrhwf9KhTyZwfXemCfxzXzr4+/YuMM39ofDvxZJbyodyW2o5yp7bZUGR+I/GvsWigD4HTxT+1D8EXaPWbbUNU0iHgtdx/brbaO4lX5lH1I+len/Dz9s/wnqIitvGuh3miXB4e4tf38GfXH3wPwNfVDKrKVZQykYIIyDXl/xE+APws8cK8mpeGYLO8bJ+16f/AKPLn1O3hvxBoA6/wb448IeMrX7R4X8Rabqq4yVt5wXUf7S/eH4iuir4o8Y/sdeKtCvzqvw08YeY8Z3RRXLm2uEPoJU4P4hawLX4x/tHfB51s/G2j3Wo2EbYDarblwR6LcJ1/EmgD72rK8R6/p+h26Pdu7zynbb20K75p2/uoo5P16Dua8W+GP7RsPxF0SZ9L8NXGkXkMkcE93eyB7G3dwcFpFwT0OFIGfWvUdE0OGxuJNQuLiTUNUnH729mwWI/uoBwieij9ayr1o0Ypy67DhFzdkVDpmpeIplu/FG2O0Vt0GkRtujX0Mx/5aN7fdHv1roQAoCqAABgAdqWivGrVp1XeR2QgoLQKKKKyLCiivEP2soPFkml+HrjS4dduvDMF4z+ILfRJTHePFgbSpHO0fNnHtmrpw55ctxSdlc9uYhfvEL9TigMpJAYEjqAelfLGs6v4Ab4LeHJvDd7rfiXTW8YWqeXqmoSLc2UzH7jEc4GMhTwc9ap+Jde8VeH7z4/ar4VkEd3bahamS4MxR7aLYd0kfqwOBj3NbLDt9f6uR7Q+tKK4f4Hap4t1n4b6XqPjK0tIL+aCNont5/N8+IxqVlc9nbJyK7iueSs7Fp3QUUUUhkd1BBdW8ltcwxzQyKVeORQysD2IPWsCGPV/Ch3aYs2q6KDlrFm3XFsP+mLH76j+4efQ9q6Oit6GInRem3YznSU/Us6Lq2n6zYre6bdJcQklSRwUYdVYHlWHcHmrtcXreki2nm1/Sb6LSNQRC00z/8AHvOo7TL0I/2uGHr2r5/+L37WHiDwV4rj0e08G2E8RtY5jJcTyDzC2fmQgcxnGQcDNezSqRqx54HG04vlkfWlFfDqftv+JP4/Amkn6Xkg/pU6ftwa1/H4B08/S/f/AOJqwPtuivipP24dQ/j+H9qfpqLf/EVMn7cUv8fw8Q/TU/8A7XQB9n0V8bp+3HF/H8OXP01Uf/GqlX9uOx/i+HFx+Grr/wDGqAPsOivj9f24tM/i+Hd4Ppqq/wDxupF/bh0X+L4fagPpqSH/ANkoA+vK5T4lf8emif8AYZt/5NXzkv7cHh/+LwDqg+l9Gf8A2Wrvh79p7RPif4x8OeErPwtqGnTz6nHKJpbhHUBFYkYAzTRM/hZ9C0UUVwmIV5F+0d4c8TXk3hLxn4T07+1dQ8Lan9rewBw88TY3bfUjb0969do6GmnZjTseB/E3xT4m+I3wi8XaVZfDbxJpSf2ehja+jAknm81P3ccY5bAyc+1cZ498JeK9K8e6f4kl0rxPc6beeGrSxD6NZ29zNbSJGFeJ0mRgoJycjHXr1r6vyc9aKpTt0HzHy1faX4t8LeAfA2meH/DPidNFH2tr1v7OtrrVbVnfKJh1KRq3XgdPpWJYeB/FTfAJdFvfDGqm6fx/HcyWk9uDIbc/edlUbdvPJA2+nFfYGTS8+9HOPmILS1tbO3W3s7eG2gT7scSBFH0A4qaiioICoL/mxuB/0xf/ANBNT1BqP/IPuf8Ari//AKCaqPxIT2Pmvw9+2L4b8OaJZ+H5vBurTyadCtq8qXUYDlBtJAI6HFaA/be8Kd/BGtD/ALeYq9h+H3w0+Ht/4E0O8vfBegz3E1hFJLLJZIWdioJJOOSTW03wj+GDfe8B+Hj/ANuKf4V2z+JnRHZHgy/tu+EP4vBeuD/tvF/jUi/tt+Cz97wfro/7axf417i3wd+FjdfAPh7/AMAk/wAKjb4L/CdvvfD/AMP/APgGtSM8WX9tjwN/F4U18f8AAov8aev7a3gLv4Y8QD/v1/8AFV7E3wR+Ebdfh74f/wDAQVGfgX8Hz1+Hfh//AMBhQB5Kv7anw9/i8O+IR/wGP/4qnr+2l8OT10HxCP8AtnH/APFV6qfgR8Hj/wA070H/AMB//r0xvgH8G26/D3RPwjI/rQB5iv7aHw176N4iH/bGP/4upF/bO+GB+9pfiIf9u8f/AMXXor/s9/Blv+af6UPpvH/s1Qv+zp8F2/5kPTx9HkH/ALNQBwi/tl/Cs9bDxEP+3VP/AIupPht8QvC/xm+JGqahGupXVlpsEMukWt/GEhiccTOIwSGkDFDuOSAwxiuxf9mz4Kt/zI9qPpPKP/Zqq6z4B8M/C2LQNX8G6OmnWMGreVqKK7NmK6CwliWJOFcRH04NAHoFFFFABRRTJpYoYXmmkSKJFLO7sFVQOpJPQUAPorK8NeI9B8S2k154f1a01S3hlMMkttIHVXABK5HfkVq0AFFFFAHFfGK0tF8JXGtpHMmt2KgaTdWrbLiO4dgsaqw6hmIBU5BGcivU9NS6j062jvpVmulhQTyKuA7gDcQO2TmvOdehl1r4heFtAjYfZrWSTWb4eqw/LCv4yuD/AMAr06gAooooAKKKKACiiigAooooAKKKKACiiigAooooAKKKKACiiigAooooAKKKKACiiigAooooAKKKKACiiigAooooAKKKKACiiigAooooAKKKKACiiigAqK7t7e7t3t7qCKeFxh45UDKw9CDwalooAw9B8H+FtAtL600Xw/p1hbahIZbuGCBVSZiMZZenQVjXOj6p4XJn0FJdS0gEs+mM2ZYB6wMeo/6Zn8D2rtaKUoxkuWSug2d0c5o+qWOr2f2rT5xLGGKuMENGw6qynlWHoau1S8QeGFurw6vo1wNM1gDBmVcx3A7LMn8Y9+o7GqOla4z3w0jWbX+zNWx8sLNmO4A6tC/8Y9uo7ivKxGDdP3oar8V/Xc6ada+ktzboooriNwriviT4d8bavdafqHgnxuPDl1aq6Swz2YuLe5VsYLKejLjgj1rtaKcZOLuJq54QP2fpI/BkWlL4nFxq0/iWHX9Tvprbas8iE5REU/KOeK3Z/g6bx/ifHe60ot/HBQx+VCd9ptXAzk4bnB7cV61RWnt59yeRHI/CTw74i8KeC7XQvEniCDW7i0AignhtfJVIVUKiY7kAdT6111FFZt3dykrBRRRSGFZuu61Z6QkazeZNdTkrbWkC7pp29FX+ZPA7mqN1rV3qV5LpXheGO7uYyVuL2TP2a0PoSPvv/sD8SK2/Dfhuz0eSS7eSS+1Ocfv76fBkf/ZHZF9FHFejh8C371XRduv/AADnqV+kTLsPDd7rE8eoeLPLMaNvt9KjbdDH6GU/8tX/APHR2B610lzpmm3Lh7nT7SZwAu6SFWOPTkVbor0lZJJbHOZraBoLfe0XTT9bVP8ACmHw14cb72gaUfrZx/4Vq0UAY7eFfC7fe8N6OfrYx/8AxNRt4O8It97wtoh+thF/8TW5RQBz7eCPBjfe8JaCfrp8X/xNRnwD4Gbr4N8Pn/uHRf8AxNdJRQBzDfDvwC33vBfh4/8AcOi/+JqNvhr8PW+94H8On/uHRf8AxNdXRQByDfC/4cN97wL4cP8A3Dov8K5/xd4D8FaDPoWpaL4U0bTr1dXgVZ7azSNwCGyAQM816fXJ/Ev/AI9NE/7DNv8AyamtyZ/CyavNf2jvGmreCfh19r0Dy11jUL2HT7OSRcrE8h5fHsBx716VXFfGnwHH8RfAs/h/7abC7WZLmyugu7yZkOVJHp1Brija+pktzjpPAvjHwj4Y1rWbr4n67rX/ABI7w31reAFDN5LFXhI5j2t+lc38B/jFcW/hnwH4c8Q+G9eSLVl+xW2vXThormcE8DJ3EdBuNddp/h341appl9pXi7xD4XNjJpdxaBbK3fzLqR4iiPIzD5QCQTt61Qg+E3iCPwh8KtIN5p5n8Iaglzfne22RRniPjk898VenUq6L/jL4z3nhPWZU1j4d+IINCivVs21dnjEZLNtDhM5Kk9KTxl8bDofjDXPDGm+Btb1+60e2ju5pLNl2CFk3M7E/dwMcc5rzrxd+z7471jVtYZtS8M38d3qv2+HUr1Zjfqm8MIQ3KooHYV6nY/D3WIPiL478RNdWn2XxDosNhaoGO9JEj2kvxgDPpmi0QtExvD37QOm6vq3hxW8H6/Y6L4huBaWWrXKqInuD1QAEkgHjd+NcV4b+Kus+DfF3xRlufDXiLxLp1lrrSTTwSgw6fAMjHzHj/dHpXVW/wf8AEUfw8+GXh1r3TvtPhXWUvr1t7bJEDMSE45PPfFZ2s/Cf4ppd+O7fw74g8O22leMdQkkuUuInaWGFuNysBjcQWBH60/dDQ63xJ8bNNtrnSLHwr4d1PxXf6npq6otvZsqeTbN0Zy3frx7VT1H4/aLF4Z8K65p3h3VtT/4SOee1htINvnxXEWAYyvcliBkH3rm/GH7P97Hqehal4VXw7qh0/RotKuLTxBAzxSeX92VSvIbrW5a/CfXI3+G8oTw7Yt4b1O4vdQg06JoYGEmMCJcHJ45zilaIWieteGr+71TQbPUL/SrjSbqeIPLZTsDJA391iOCas6j/AMg+5/64v/6CanFQaj/yD7n/AK4v/wCgmph8SM3sWvhd/wAk48O/9g2D/wBAFdJXN/C7/knHh3/sGwf+gCukrtn8TOiOyCiiipGFFFFABRRRQAUUUUAFY/jXRI/EnhHVdCkbaL61eFX/ALjEfK31BwfwrYooA888A6tJrXg7TNQuCPtRh8q6A/hnjJSQf99q1btcr4fjj0P4h+KPDSgpFcSJrVop6bZsrKB9JUJP++K6qgAqlrmj6Zr+mS6RrFnHe2NwVE0EmdsgDAgHHUZA471drL8V6FZ+JfD93oeoS3cVtdKFke1mMUoAIPyuOR0oA8h/Y6hit/CvjCCCNIoo/FV2iIgwFACgADsK9yrz34a/B/wh8PdZm1Xw7JrCzTRvHIlzftLG24glip43fKOetehUAFFFYvjnWf8AhH/CGqawqGSW3t2MEY6ySn5Y1HuWKigBnwphTVPEfinxdv8AMSe7XS7M9hBbZDEfWVpP++RXodYXw/0NfDfgvSdEUfPa2yrKf70pGXb8WLH8a3aACiiigAooooAKKKKACiiigAooooAKKKKACiiigAooooAKKKKACiiigAooooAKKKKACiiigAooooAKKKKACiiigAooooAKKKKACiiigAooooAKKKKACiiigAooooAKoa7o+na3Ymz1K3WaPO5Gzh427MrDlWHqKv0U07A1c4aWfVvCreXrLS6lo2cJqSpmW3HpOo6j/poB9QOtdBBLFPAk8EiSxSKGR0YFWB6EEda2GAZSrAEHgg965C+8N3uizSX/AIT2eU7b7jSZG2wyepiP/LJ/b7p9B1rir4ONT3oaP8P+B+RpCq46PVG1RWboWtWerxyCDzIbmAhbm1mXZNA3oy/yPQ9jWlXlSjKD5ZKzOtNNXQUUUVIwoorI1rXYrG5j0+1t5NR1WYZisoCN2P77noif7R/DNXTpyqS5Yq7JlJRV2X9SvrPTbKS8v7mO3t4x80jnAHt7n2rGgtNX8WfNcLc6NoR/5Z/cu7se/eJD6fePtV7RvDE0l7FrHiaeO/1BOYIEB+zWn+4p+83+2efTFdTXr0MLCjq9ZfgvT/M5J1JT8kV9NsbPTbKKysLaK2tohhI41woFWKKK6SAooooAKKKKACiiigAooooAKKKKACuT+Jf/AB6aJ/2Gbf8Ak1dZXKfE/EejWF452xWuqW0sjHoq79pJ9vmpx3In8LJaKO9FcJkFFFFABRRRQAUUUUAFFFFABVfUf+Qfc/8AXF//AEE1Yqjr9wlroV/cyHCxW0jH8FNVD4kJ7Gh8Lv8AknHh3/sGwf8AoArpKxfAlnJp/gvRbGUESQWMKMD2IQZrartl8TOiOyCiiipGFFFFABRRRQAUUUUAFFFFAHnvxVRtL8R+FvFSRjy4rttLvW9IbnAVj7CVY/8Avo1uVZ+IGht4l8FatoccgimurZlgk/55yjmNvwYKfwrnPBWtDXPCemarKyJPcW6mdNw+SUfLIv4MGFAG1RTfMj/56J/30KPMj/56J/30KAHUU3zI/wDnon/fQo8yP/non/fQoAdXLeKI5NY8a+FfDUY3Qm6bVb3uPKt8FAfrK0f/AHya6fzI/wDnon/fQrE+GUS6t4z8U+KfMEkSSpo9kR0CQfNKR9ZXYf8AAKAPQ6KKKACiiigAooooAKKKKACiiigAooooAKKKKACiiigAooooAKKKKACiiigAooooAKKKKACiiigAooooAKKKKACiiigAooooAKKKKACiiigAooooAKKKKACiiigAooooAKKKKACiiigDD8SeG7TWJI7yOWSw1OAfuL6DiRf9luzp6qePpWNaa1d6fex6T4ohjtLqQhbe7jz9muz6KT9x/wDYb8Ca7Wq+pWNnqVlJZX9tFc28ow8ci5BrOrShVVp/eOMnB3iUaRiFUsxAAGST0Arnri11rwmC1ul3rmiDAES/PeWo9s/61Pr8w96fbaJqfiZluPEaPY6Xw0elK/zy+9ww6/7g49c1wRy+fNZvTv8A8A3eIVttRi6lqXiOZrXwwRFZg7ZtXkTMY55WFT/rG/2vuj36V0nhzQdP0K2aKzR3llO6e5mbfNO3952PJ/kO1aMMUUMKQwxpHGgCoiLhVA6AAdKfXowhGnHlgtDnbcneQUUUVQBRRRQAUUUUAFFFFABRRRQAUUUUAFFFFABVTWNPtdW0u5029jElvcxmORfY/wBat0U07aged6bqE+k3SeH/ABFIIr1Pktbp+I75B0ZT034+8vXPI4rerd1LT7HUrRrTULSC6gbrHKgZT+Brmn+H2iBj9ku9bsU/5522pzKg+g3HFRKlCTvexi4SWxY5o5qt/wAK/wBP/wCg74m/8G0v+NH/AAr/AE//AKD3if8A8G0v+NT7CP8AN+AuWXYs80c1W/4V/p//AEHvE/8A4Npf8aP+Ff6f/wBB7xP/AODaX/Gj2Ef5vwDll2LPNHNVv+Ff6f8A9B7xP/4Npf8AGj/hX+n/APQe8T/+DaX/ABo9hH+b8A5ZdizzRzVb/hX+n/8AQe8T/wDg2l/xo/4V/p//AEHvE/8A4Npf8aPYR/m/AOWXYsOyohd2CqBkknAArBgU+NL+K0swW0CCUSXl2OEumU5EMf8AeXIBZunGOcmtq28AeHkkEl4t/qhHRb+9knT/AL5Y7T+IrqYY44YlihjSONRhVUYCj0A7VcIRg7p3Y1Tb3HUUUUzYKKKKACiiigAooooAKKKKACiiigArlrr4c+A7q5lubjwfoks0zmSR2s0JdicknjqTXU0UAcl/wrP4e/8AQl6F/wCASf4Uf8Kz+Hv/AEJehf8AgEn+FdbRQByX/Cs/h7/0Jehf+ASf4Uf8Kz+Hv/Ql6F/4BJ/hXW0UAcl/wrP4e/8AQl6F/wCASf4V0OjaXpui6dHp2k2NtY2cWfLgt4wiLk5OAOOSSa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B//Z">
            <a:extLst>
              <a:ext uri="{FF2B5EF4-FFF2-40B4-BE49-F238E27FC236}">
                <a16:creationId xmlns:a16="http://schemas.microsoft.com/office/drawing/2014/main" id="{D0936C4F-CC47-449E-BACA-6842E0C4876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5122" name="Picture 2" descr="PPT – Chemistry Questions And Answers - Take A quiz To Solve The Mysteries  of Chemistry PowerPoint presentation | free to download - id: 81af80-MGJhY">
            <a:extLst>
              <a:ext uri="{FF2B5EF4-FFF2-40B4-BE49-F238E27FC236}">
                <a16:creationId xmlns:a16="http://schemas.microsoft.com/office/drawing/2014/main" id="{45CCE52D-6383-4C1E-806D-66B8729F17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400" y="2678929"/>
            <a:ext cx="1630960" cy="1842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0719684"/>
      </p:ext>
    </p:extLst>
  </p:cSld>
  <p:clrMapOvr>
    <a:masterClrMapping/>
  </p:clrMapOvr>
  <p:transition spd="slow"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2D32590-9556-4431-BF5A-5F38BDC49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65126"/>
            <a:ext cx="11090275" cy="942382"/>
          </a:xfrm>
        </p:spPr>
        <p:txBody>
          <a:bodyPr/>
          <a:lstStyle/>
          <a:p>
            <a:r>
              <a:rPr lang="en-GB" dirty="0"/>
              <a:t>End</a:t>
            </a:r>
          </a:p>
        </p:txBody>
      </p:sp>
      <p:sp>
        <p:nvSpPr>
          <p:cNvPr id="2" name="AutoShape 6" descr="data:image/jpg;base64,%20/9j/4AAQSkZJRgABAQEAYABgAAD/2wBDAAUDBAQEAwUEBAQFBQUGBwwIBwcHBw8LCwkMEQ8SEhEPERETFhwXExQaFRERGCEYGh0dHx8fExciJCIeJBweHx7/2wBDAQUFBQcGBw4ICA4eFBEUHh4eHh4eHh4eHh4eHh4eHh4eHh4eHh4eHh4eHh4eHh4eHh4eHh4eHh4eHh4eHh4eHh7/wAARCAFKA0Q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82+MXxUh+HuqaLZf2RLqQvH86/dJNosbMOkbTtxzhpFGPrzQB6TRWbruv6HoVil9rWr2OnWrkKkt1OsasT0AJPNV9U8XeFtLs7S81LxFpVpbXoBtZZrtEWYHuhJ+YfSgDaorJ13xN4c0FYG1rXdN00XB/c/arlI/M/3dx5rB8WfFDwd4X8U6N4e1jVra3n1aKSaKVpkWKJFXIZyWGA3RSAckGgDtKKRSGUMpBBGQR3paACiiigAooooAKKKKACiiigAorn/AIj+Iz4Q8B614nFp9rOmWj3Ag37fM2jpnnFZfgzxB4vvLc6l4u0PRNE0o2q3CXEOqGUjIBwwZFCjB65oA7SiueTxdoup+H9T1LwzrGkau1jC7ny75PKVwpIEjjOwcdT0HNY+meN7ufxfoWh3drYRxaj4ffVp54bnzUjZWjG1H6MmHJ3ewoA7mis4a9opsbG+GrWJtb90js5vPXZcO33VQ5wxPYDrULeJ/Da6tHpDa9pg1GSVoUtTdJ5rSKASoXOcgEHHvQBr0VkWHijw3f6zNo1jr+mXOpQ5821iukaVMdcqDnirup6lp2lxRy6lfW1nHJIIkeeUIGc5IUE9+Dx7UAWqK5z/AITzwT/Zf9qf8JdoX2HzvI+0fb4/L8z+5uzjPtWlrOvaJo2mDU9X1ewsLE4xcXFwscZz0wxODmgDRorOt9d0W40Q65b6vYS6WELm8S4UwhR1O/OMfjXL6F8Q7HXfiWPDei3Gnajph0X+0Rf2twJMuJvLKfLxjHPrQB3NFZGl+KPDeq6pPpema/pl7fW+fOt4LpHkTHXKg5rXoAKKKKACiiigAoorz7xp408T2PxDtPBvhbw7p+qXU2ltqUkt5fm3VEEvl7RhGyc0Aeg0Vzcni3TdF02xPjTVNF0HUrhAXt5L9dobPRWbaWHvgVJqWvXNv4r0rS7dNNls720nuGke9Cz/ACBSvlxYzIp3csDxx60AdBRXHfDLxvB4o8G6Dq+pNZ6ff6wsxgtBNy5jdgwQHlsBcn0rem8QaFCt60usWEa2EqxXha4UC3dsbVfn5SdwwD6igDTorDPjDwmNJn1c+JNI/s+CYwS3X2xPKSQdULZxu9utaelajYarYRX+mXtve2kozHNBIHRh7EcGgCzRXnWreP8AXb3xdqXhvwJ4Xh12XR9q6pd3V8LWCGVl3CFTtYu+0gnjAyMmuh/4TDTdM0Gxv/GNxY+F7q5X57W+vYwUfPKhs4b6j1oA6SiqQ1bSy9ig1G0LagCbMCZT9owu47OfmwvPHamSa5o0a6g0mrWSLppAvi06gWxKhh5nPy8EHnsaANCisiw8T+G7/RZdbs9e0240yIkSXcdyhhQjrls4FT6Drmja/ZG90PVbLUrYMVMtrOsihvQlT1oA0KKKKACiiigAooooAKKKhv5/stjcXW3d5MTSbc9cDOKAJqK88+BPxLHxL8Ly6lc6V/Y9/A0ZlszN5mIpY1kikBwMhkb06gjtVT4b/FmDxp8QPE3h6HSvsunaPGJbfUXmBW7QSPG7hcfKoeN8HPOKAPTqKxtF8U+HNdluYdD17S9Tnth+9jtrpJCn+9tJwPes/QPGNjJ4X0/VfEmoaHpc94krqsepJLCwQnJSQ4DYABOOlAHU0VxnjH4neDvDPgSTxnNq9rfaUHEcT2c8cnnuWxtQ7gCRySM9Aa1v+Ey8Jjw/H4gbxHpSaVI21LxrtBEzdMBs4Jz2oA3aKzT4g0IabbakdZ08WV0wW3uPtCeXKSCQFbOCcA/kabo3iTw/rVhNqGka3p1/aQErNPb3KOkZHUMQcD8aANSisfQ/FPhrXRc/2Lr+maj9l/1/2a6STyv97B4pmneL/Cmo6lDpun+JNIur2aITRW8N5G8joRncFByRigDborJvfE/hyx1qHRLzXtMt9Tnx5VpLdIsz56YQnJpL7xR4bsdZh0W91/TLbUpseXaS3SLK+emFJzzQBr0VmeKJ9cttIeXw7p9nqGoBl2QXVyYIyM8kuFbHHtXnngH4ieMtfvdSm1bwzoOkaPpGpTafqV42sEmJ4lBZlBjAK/MvJI70AerUVlaH4l8Pa5ZzXmja5p2oW0BImltrlJFjOM/MQeOPWuX8c/ErSNM+Hes+KfC9/pevPpjQo8cN0HQM8qJhihOOGJ/CgDvaKpQarps2pyaVHfWzajFCs8tqsoMsaNwGK9QCehq7QAUUUUAFFFFABRRRQAUVwXxf8W+LPBmiXviDSPDmm6rpOn2T3V28+oNBKNmSVVQjA8D1FO8O+N7230VdW+ISeHvC9tcpG9k39rB/NDLk53qmCMjpnrQB3dFZV/4k8P6fosetX2uadbaZKAY7uS5RYnB6YYnBz7Vi3njOP/hNfC2j6b9kvdP122u7gXkcu4AQqhXaRwQdx/KgDr6Kp6Rqmm6vaG70q/tr63DtH5tvKHTcpwwyOMg8GvPPAvjvxx4uvZ7qw8JaTHoUGqz2ElzJqrCfbDIUZxH5eM8ZA3UAen0Vj2/inw1casukwa/pcuoO0irapdIZS0f+sG3Ocrg59MUuj+KPDes309hpOvaZf3dv/robe6SR4+3IByKANeisOXxj4Tj1K402TxNo6XtsVE9ubyMSRliAAy5yMkgfUitBNU02S4vbdL+2aaxCm7jEoLQAruG8fw5HPPagC5RWRfeJ/DljokOt3mvabb6ZOqtDdyXKLFIG5BVicHPtUj+INBTTrbUm1nT1srpgtvcG5QRysQSArZwTgH8jQBp0Vm6F4g0PXrKS90TWLDUraNikktrcLIiMOoJU8GqVp428H3cM81r4p0WeO3lSGZo72NhHI7bVViDwSxwPU0Ab9FVZtS0+HU4NMlvbdL64RpIbdpAJJFXG5lXqQMjJ96tUAFFFFABRRRQAUUUUAFFFFABRRRQAV4FNovi74heKviDqlha6E2jXkTeGbf8AtUTK/kxKfNeMKPutK7HPcoPSvfaAABwAKAPmNtUju/Afg7VfEuvyaD4y8MC803fe6W95aXMsWIpEkUL1dVQqwIY5OM1a8Y62E0/w347nSHw94vPh3YPD15o8lzaXsbPv+zphcxyFlGMHcAwyMV9I7F/ur1z070FVJGQDjpx0oA+ZvF51KL4rajrHirWovCNpq+hWK2IvNDXUIlHlnz7YORiNhISSv8WQe1XbnT9E8FyfCDVLy8uNT8O6dBfWkmpz6c+797HmEPHtLIMgqoI44r6MZVYYZQR7ilIDDBAI96AERlZFZfukZHHaloooAKKKKACiiigAooooAKKKKAOC/aHjkm+B/jGKKN5HbSpgqopLE47AVzWuaRc+C/g5fa3ZTa14mnOm24NhrE73tvGCU3P5OMnYCWwOSFxXsRAIwRkUUAfLnhiWXUPF3j+6t9ZGv283gV41vbbRTYQyOGk+RVAxIRnGeTzjtXV+E7C6uPEHge3WCRWf4cyQZZCArnyAAfQ+1e7hVAwFAGMdKAo44HHA4oA+WtI8QWV74F+E/g2C11M61ofiCxj1SBrCVRZmMuh8xiu0ZJGME5HNeheDPDaz6n8W9SsdNiTxBc6tPDZXkkeJARaR+VtYjgBmPI7k17HtXJ+UcnPSlAAzgAZ60AfLHwk0mwvJPAml6l42a11jRLmOU6MnhnyLqK4VGWRJJgMlTlsuThuDXrH7Q+l2+s6b4P0+8she2kviywFxCyFlZPnzuH931zxXp21dxbaMnqcc0EA4yM80AeIWHg/QJfjv8QWl8N2TQHw9ZrGGtB5eXWUPtGNuSFUHHPArkPCVxb6Tpnwi8ReOrO4m8O2nh65tRLNaPNHZ3paMRPIoBK/uldQxHH419P4Gc4GaQqpXaVG30xxQB8uapp32rwv4p8Rafot4fAV34x0/UDYpaOn2iyjCi6lWDAby2kAbGPmCk45rXBsPEnxN8Xaj8NtPkt/t/gWe2tL6Kza2iubsOQpQsBkrlRux274r6N7Y7UgVVxhQPoKAPmT4RabpOoax4Ghk8bFNS0Mhk0eLwz9kuIXERWSKaQDheuSeGIB5r6cpAqhiwUAnqcUtABRRRQAUUUUAFePeM/Dr+IP2jdPjbUdb0yKPwrIftGm3LQMW+1D5S4HI74r2GjAznAz60AfPfxf1CbS/Edz4Xn1CPS7aLQUFvqV5oh1S81hmMgaAORjK4GR1JfPSovhpb3n9qfBhpoLgNF4NvUkLo2UbZAAGz0PHQ19EEAkEgEjp7UBV4+UcdOOlAHzL4YlXw34S+DfizWIbqDStLn1GC+mFu7m2MwkWNnVQSFJGM47iqOrvH4l8G/GW9t7C+ax1PX9OaFZrV4nmixApYKQGwQDz6V9UbV27dox6Y4oKqc/KOevFAHgvx20RtE8XeB76wmg8O+GLBLqKW5j0hby3tbhkQRM8OMDKqyiQj5fbNdd+z5penWGi63eaX4mfX4dR1R7l5V042cKSFFDCKPGNpwCSOCc+9emkAjBAI9KAABgAAUAeH+FPEWnfC7x7450zxp9qsLfWdYbV9Mv/ALLJLDcxyRopTcinDqykbTz0xVb4l+NUv/E+iPF5Ph3Sr/SJJ4dY1Dw493cTt5m37IsbD5CR8+Dy2RgV7wyqw+ZQfqKCAcZAODkZoA+Z/CFwfDXw9+DHibW4b2HTdIur6K+l+yOWthLHNHGzoASi5wOnGRUkT6B4os/ivf6tPq+kaPf69p81tff2dIWQpBCY5miKktFuQE7hgg84r6UKqV2lQR6Yo2jngc9eOtAHy74p1HxN4q+GlrdNHB/ZejeLoDc6tp+jMYb60RM/ajaN99VdgGHIO3I4FeifAmx0ybxV4i8Raf42XxHLeW9tDcrb6P8AYbdShfY3A2u+CQSOQMZ7V6+AAMAAD0pFVVGFUAegFAC0UUUAFFFFABRRRQAVT10E6HfgAkm2kwB/umrlFAHylbL4m8F+BPAGv+FtMupr7xT4UtfDlwiIf9Hu/LBtrhx22hpAc+1dTZ6PL4H8Z+L7HR9BOsR6V8P7OG3tGiJS9kR59yHj5ixySOp3e9fQe1cAYGB0pcDOcDPrQB80/C7UJNW+M/hy+i1qDVV/4R+9WcWWgGwgs2PkkQbsfOQQflPK496b4N0ODUtK+BtpqulfabeG41OWSKeElUYK5QsCMdcEZ719LhVHRQPwoCrx8o46cdKAPm3x5oL/APCEfGvTtM0ljCmqW13BbQ25Iz5MDytGoHU4Ynb71J8TNRtNV8V+BvF+ka0uleE47G7gTUm0Q3VvbXRKffiYDYWUMocjsRnmvo/A54HPWk2rt27Rt9McUAfOD+F9Hn8BeHbKHUz4p0vU/H0N3Of7NNrAAwO9EixgR7hnj5SWNa/iGKTwz49+KV5ofhaHUE/4RmxnXThbfuLqQGZTlFGGwoGQOSBiveNq4AwMDpx0pcDOcDPrQB80fDi8k1L4vi8g1yLW4T4Ru45JrPQjYW8T+ZERCDj94Rz15X8TU/hbwzp2n/Bz4RX1nokdtqKa/YTSzJb7ZgZGcSFmxuwQcHPGMV9HhVHRQPwo2rgDaMDpxQB4H4Vv/CGi+KvGOh+PNFkuvEWo+JXuLYSaW9w15AxT7M0TBSNqAeo24J4ri9V0eObU/HHhrxh4z/4R+41TXbmYQSeG/tM9zAzg28kNwAWbCBAMfcK4r6w2rkNtGR0OKCqkhioJHQ46UAQ6fGYbC3haV5ikSqZHGGfA6n3NeBRX+o6D8NPiZf2+gxalJ/wmdwfKu7Rp4kjZoAZzGBmRUGXwOu2voSkwADwOaAPmPwnHpus+IPiH/a2vXesaHe+F4IbnUtO0NrION8obykUHzCoP3gD6dqi1nVtQ1b4MeOtBtZLTW7Cwh09LLXbHSmtTdEzpmNo8YZ4woJK/L83QHNfUIVV+6oH0FG1du3aNvpjigDyX4Ewv4f17xH4V8Q2jt4rNwb6fV3Qn+2bdziOYN0XaPkMY4XHAwa9bpMDO7Az60tABRRRQAUUUUAFFFFAHCftCRyTfA7xpFDG8kjaNchURSSTsPAA61w3xG1y40uTwVp8z2Oh2c2jF21260Y37RyKsYFqi4wrODnnrtwK90IBGCMikKqQAVBA9qAPlzw5a6bH8FvCF9q3iCfw/qGm61qU+mXV3ozSW5YzSqUmgxiMMjfKOCP4at+NYPGXj7R/AUmm2f9gazd6TquYIYmhikUbP3eThoVmUcHhlD19MFVIwVBHpilwM5wM0Acl8INU0XVfh/pr6FpLaLbWyG1fTWiMbWcsfyvER3IPfv17159+z34SaTT9R1ubWfElo6eJdRcWKXrR2rgXD4zFjBB/WvbgAM4AGaAAOgAoA+fvDvhW4ufhb8V59C0oJ4lv9a1lLecR7Z3O5lUIx5GVJAxxz71mfCTTtL1TxL4Okh8dh9S0W2kEWkweGvsUkWYdjxTuBwAecN1IBFfSgAHQAUgVQSQoBPU460AfH93d+Frb4NaR4XvtDnXxvYeI7d9QZ9NcSwzG/XfO8xXG11IAO47twH09I1rxBY+D/AIlfE211q31FZvEFjayaSsFlJN9sK2zRMiFQQWDdQcYBzXr3jPwzpvizRf7J1Qzrb/aILgmFwrF4ZFkTnB43KM+1bZAJBwMjoaAPlV7TUtP0T4R6tqGqNoOkWvhc2xvZ9I+3RWt2yx4Dxn/VlkDAOfQjvWyfCujS+BfCthBqR8U6VqPj+K7nZtNNtBhw5dVixgRbhn+6cmvpAqpXaVBHpjijauAMDA6cdKAPnf4i+HtR/t/4u6b4R02WCa98Mae8cNmnliZw0ocLjA3mNdvHPSt60tvhx8S/Aep+GPCemrbXp0RYfPTTHtzaspBjjZ2QfOsiqdvJGCa9rwM5wM+tNeMNG6KSm4H5l4IJ7/WgDxP9njUNR8eeINQ+IWsW0kEllYQ+H7eOUcrNF814w+suBn0Svbqw/AvhfS/Bvhm30DSPPa2hZ3Mk775ZXdy7u7YGWLMSeK3KACiiigAooooAKKKKACjvRRQAUUUUAFFFFABRRRQAUUUUAFFFFABRRRQAUUUUAFFFFABRRRQAUUUUAFFFFABRRRQAUUUUAFFFFABRRRQAUUUUAFFFFABRRRQAUUUUAFFFFABRRWN4k8R2Oi+XAyyXd/PkW1lAN0sp9cfwr6scAU0gbNS7uLe0t3uLqeKCFBl5JGCqo9yelSRusiB0YMrDKsDkEetcRFot5rNwmoeLGiuCpDQaah3W1ufU5/1r/wC0eB2FJHY6p4YkM3h1TeaZnMmku+NnPJgY/d/3Dwe2KwWJoufJza/gVyTS5rHc0Vm+H9c07XbM3GnzFtjbJYnXbJC/dXU8qfrWlW7TW5NwooopAFFFFABRRRQAUUUUAFFFFABRRRQAUUUUAFFFNkdY42kkYKigszE4AA70AOrNvPEGhWUhjvNa063cdVluUUj8Ca42e5vvGTNcSXFxZ+HiSLe3iYxyXq/89JGHIQ9lGMjk+lXrHRdHsYhFZ6XZQIOgWFf54yaUpwg7PcydR9Dc/wCEs8Lf9DJo/wD4Gx/40f8ACWeFv+hk0f8A8DY/8azPsdn/AM+lv/36X/Cj7HZ/8+lv/wB+l/wqfbQ7MXPI0/8AhLPC3/QyaP8A+Bsf+NH/AAlnhb/oZNH/APA2P/Gsz7HZ/wDPpb/9+l/wo+x2f/Ppb/8Afpf8KPbQ7MOeRp/8JZ4W/wChk0f/AMDY/wDGj/hLPC3/AEMmj/8AgbH/AI1mfY7P/n0t/wDv0v8AhR9js/8An0t/+/S/4Ue2h2Yc8jT/AOEs8Lf9DJo//gbH/jR/wlnhb/oZNH/8DY/8azPsdn/z6W//AH6X/Cj7HZ/8+lv/AN+l/wAKPbQ7MOeR0Gn6vpWoNtsNTsrs4ziGdXP6GrtcJqHh7RL/AAbjTLcSKcpLGvlyIfVXXBB/GpdB1bUNE1W30fWrp76xu28uxv5MeYknUQynuSM7W74weetxlGfw7jVTXU7aiiig1CiiigAooooAKKKKACiiigAooooAKKKKACiiigAooooAKKKKACiiigAooooAKKKKACiiigAooooAKKKKACiiigAooooAKKKKACiiigAooooAKKKKACiiigAooooAKKKKACiiigAooooAKKKKACiiigAooooAKKKKACiiigAooooAKKKKACiiigAoJwM1R1vVtP0Wwe+1K5S3hXgE8lmPRVA5Zj2A5rlJ49X8V5OprNpWiH7tirbbi6X1mYfcX/YHPqe1TOcaceabsgSbdkWtS8TXeqXEmm+E1jlKMUuNTkGbeA9wn/PV/YcDue1S6FolppRlmVpbm+uMG5vJzummI9T2HoowB6VoWtvBa28dtbQxwwxqFSNFCqo9ABUleTiMXKr7q0j/AFudVOio6vcKKKK5DYxtZ0Jbq7XVNOuX03V41CpdxDO9Qc7JF6OvseR2IqxofihmvU0fxDbppuqNkRENmC6A7xOe/wDsH5h79a0aq6rp9lqlk9lqFulxA/VWHQ9iD1BHqORXdh8a4LlnqvxX9djCpRvrHc6CiuJg1DV/Cnyag1xrGhjpcgb7q0Ho4HMiD+8PmHcHrXX2N5a31nFeWVxFcW8q7o5I2DKw9iK9SLUlzRd0c2qdmT0UUUwCiiigAooooAKKKKACiiigAooooAK5b4nsz+GBp6O0f9o3UNmzKcEI7jfj/gIYfjXU1ynxL/49NE/7DNv/ACaqi7O5E/hY9I0jjWONQiKAqqOgA6ClFLRXAZBRRRQAUUUUAFFFFABRRRQAVl+LLNb7w5fwY+cQtJE3dZE+ZGHuGANalQah/wAeFz/1xf8A9BNXTbU00J7G74av/wC1PD2nan3urWOY49WUE1oVznwv/wCSc+Hf+wdB/wCgCujrrluzoWwUUUUhhRRRQAUUUUAFFFFABRRRQAUUVHdXFvaW0lzdTRwQRKXkkkYKqKOpJPAFAElcZ4x8dR6dqDeH/Dtn/bniMpu+yo+2K1U9HuJOka+3LHsO9Yl94o1vxwzWvhCWXSfD5ysuutHia5GeVtUYcA/89WGP7oPWtbw5oWl+HtP+w6TaiGIsZJGLFpJnPV3c8ux7kmgDKsfGPiPwpJt+IAtr3S5SCNa0+ApHasx+5PFyVQZwJBkY+9jrXpNtNDcwR3FvNHNDIoZJI2DKwPQgjgiucZVZSrKGUjBBGQR6GuRi0nWvBc733ghFutMZi9z4fmk2x8nJa2c/6puvyH5D/s9aAPVaKw/B3irR/FVi9xpkzrNC3l3VpOhjuLaTukiHlT+h6gkVuUAFFFFABRRRQAUUUUAFFFFABRRRQAUUUUAFFFFABRRRQAUUUUAFFFFABRRRQAUUUUAFFFFABRRRQAUUUUAFFFFABRRRQAUUUUAFFFFABRRRQAUUUUAFFFFABRRRQAUUUy4mit4XmnkSKJAWd3bCqPUk0APrnfEXidLK6/srSrY6nrDLkW6NhIR/elfoi/qewrMuda1TxOTB4deTT9KyRJqjJiSYdxAp7f8ATQ8egPWtLRdKsNHtDbWMHlqzF5GJLPIx6s7HlifU1z18TCjpu/63/wAi4U3P0KGmaHJ/aA1jXboanqoz5blcQ2wPVYk/h/3jlj69q3KKK8epVlUlzSZ1xgoqyCiiioKCiiigAooooAK5+40a80q8k1TwtJHBLIS9xp8hxbXR9f8Apm/+0OPUGugorWjXnRd4sicFNakfhvxHZ60ZLfy5LPUYP+Piyn4ljPr/ALS+jDINbVctrui2mrCKSRpLe8gyba7gbbNCfVT6eoOQe4qGw8SXmkTx6d4s8tA7BLfVI12wTHsJB/yyf6/Kex7V7NCvCv8ADo+3+RyTg4b7HX0UAggEcg0VqSFFFFABRRRQAUUUUAFFFFABXKfEv/j00T/sM2/8mrq65T4l/wDHpon/AGGbf+TU0RU+FktFFFcJkFIzKqszsqqoyWY4AHqTS14h+1LLcalqXgLwNJqE1ho/iPWPJ1OSJ9hkjXbiMt2BJ/lTSuxpXPX5Nc0WPT59Rk1jT1srf/XXH2lPLj/3mzgfjV2GSOaFJoZFkjdQyOpyGB6EHuK8F+OPwy8F+B/gl401Dwto/wDZclxpsdvMkcrlHUTIQSpJ+b3rG8X/ABi8QaFfaN4M8M3Wj6U1l4ftbq6vdSs57kSu0SlYkSJWI4x8x4qlG+w7XPpaivANR+Lviq++GPhjxHa6l4Z8KX2omdLyPVreeV3eNto8iFFLsDySccZFZifHLxlc/A+z8WWdppL64vidNFmHlMLe4U5+ZVPKZ469PSjkYcrPpKisTwTH4oj8Owr4yuNMuNY3MZn09GSHaT8oAbnIGAT3rbqCQqvqP/IPuf8Ari//AKCasVX1H/kH3P8A1xf/ANBNVD4kJ7Fv4Yf8k58O/wDYOg/9AFdHXOfDD/knPh3/ALB0H/oAro67Z/EzojsgoooqRhRRRQAUUUUAFFFFABRRXD+L/Gl5HrE3hbwjYrf65GiNdTT5W009XGVaVurMRyI15Pcgc0AbXjLxZo/hW0il1KSSS4uG8u0srdPMuLp/7saDk+54A7kVxD6PrPjG6j1HxyqQ2CMHtfD0Um+FCDlXuGH+uf8A2fuD0J5q/wCGvDEGl3kur393Nq+vXC7bjUrkDeVznZGo4jjHZF/HJ5roKAEACgKoAAGAAMACloooAKKKKAOe8SeGItSvY9Z0y8l0bX4F2walbqCxXOfLlU8Sxn+634EHmrvhfx1KNTh8OeMrWLSNakJW2lRibTUMd4XPRvWNvmHbcOa1Kpa5pOm65pkumatZxXlpKPnjkGRnsR3BHYjkUAdnRXllvrevfD2Nv7Ylu9f8KRgn7aRvvdOT/pqOs0Y/vj5wOoPWvTrS4gu7SG6tpVlgmRZI3U5DKRkEfUUAS0UUUAFFFFABRRRQAUUUUAFFFFABRRRQAUUUUAFFFFABRRRQAUUUUAFFFFABRRRQAUUUUAFFFFABRRRQAUUUUAFFFFABRRRQAUUUUAFFFFABRRWR4l8T+HfDVq114g1zTtLhA3Frq4WPj2yeaANeivnnxx+138LdCEsWjNf+IrlMhRaw+XET/vvjj3ANeNav+1L8Y/HUzad8PfCa2JclQ1naveTjP+0RtB/4DQB9peLfE2keGLBbrVbkRmQ7YYgR5kzeij+Z6Dua43w/eWnxBabUL3VtP1CytJ/L/suxuVmghkGCPOdeJHxg4+6PfrXyvB+z7+0F8ULyHUPH2uNZR4JVtTvDI8YPULEmQv04r3H4G/DZfgONT03VNWub6w1WaNo9Q8sLbRuoIw45MbHOMklTgcis6/P7N+z3/H5Dhy83vbHtYAAAUAAcADtS0gIZQykEEZBHQilrwDvCsP4g6ldaP4D1/VrF1S7stNuLiBmUMFdIyykg8HkdK3KwfiJp93q3gDxDpdhF5t3d6ZcQQR5A3O0bBRk8Dk1ULcyuJ7GB8JvGE2qfBHRfGviu+gjkk037Xf3JURooGdzYHA4HaqvgT41+A/GWurouk3WoRXksD3FsLyyeBbqNRlmjLD5hjmvMPDPhv4pa18DZvg/rXgM6DCujtbw6w+qRSK8yMHRWjXJAYjaTk4Gah+FPw98cQeKtDutf8G6tZXehWM0Vnqd94nF3bxS+UVXy4AMhC2OM4Aro9lD3m3+KM+aWh6X4e+PHw/1zxJZ6DbSavb3F/IYrKW702SGK5cfwozDkntV5PjJ4Jf4ey+OBcXv9mRX39nvH9mP2gXG8J5fl9c5IP0rwvRPh/wDGrUvGHg6+8WaPqtw+j67HdX17c69HNA6Bj88NuMCMAemSfSuhm+EfjBvjlLYLYJ/wrqfxEniWWYSrzOsZPlbM5/1h9MVTpUr7/iJTkekeK/jr8PPDPiCfRNSvb9p7Uot7Lb2MksNmzYwsrqMKeeR2qz4u+M3gbw14gh0O6ub+9u5IIrhv7PsnuEhik+47svABBB+hrxPxX8KPH1j4v8Z29v4X1bxJoniO/ku0ax8TLYQlX6pPEQd2On0FanxJ+H/xCHiTTG+H/gyfSNRs7GztIPENrryohjRFDRXELD96FIIBxyAOvSj2VLTX8UHNI+nAQQCOhGRS1HaiZbaJbhleYIokZRgFscke2c1JXGbBUdzBDc28lvcQxzQyKVeN1DKwPYg9akqO5nhtreS4uZo4YY13PI7BVUepJ6U1e+gnbqYEEWr+FTu0lZtU0UH5tPZt09svrCx+8v8AsH8D2rlfG37Snwu8Iawmlarf6g9w0KzHyLNnCg5+VuhVgQcqRkV1UEur+Kzt0tp9K0U/ev2XbPcj0hU/dU/3z+A71j+J/wBn/wCE/iS/W/1jwstxdCMRmUXUqswGeWwwy2Sck8mvoKXtOT978X9b+f8ATOCXLze5t/WxyQ/a7+DR63+sD66c3+NPX9rj4MH/AJimqj66dJWi/wCy18E2/wCZUkX6X83/AMVUT/sqfBVv+Zcul+l/L/8AFVQFdf2tPguf+YzqQ+unSf4U9f2sPgqf+Y9fD66dL/hSN+yd8F2/5gd+v01CT/Gom/ZI+DDf8wrVB9NRegC0v7VnwUP/ADMl0Prp03/xNPX9qj4Jt/zNE4+unz//ABNZrfsh/Bo9LHWV+mot/hSL+yD8Gwcm01th6HUT/hQBsL+1F8E2/wCZtYfWxm/+JqVf2nPgo3/M4oPrZzf/ABFYEn7IHwdZSFt9cjPquoHj8xULfsd/CMnKtr49vtw/+JoA6pf2lvgo3/M7W4+ttN/8RVLVPjN8NPGmp6BofhnxVbahqMmrQukCxSKSqhiT8ygcCubl/Y2+FLfduvEMf0u1P80qKz/Zu8DfDfxT4e8VaFfazLew6pHGqXMyNHh1YHgKD+tNEz+Fnt1FFFcJiFcn8UPAOg/ETw8uj66s8fkyie1urd9k1tKOjo1dZXLfEL4geE/AVnBc+JtUW1Nw223gRGkmmPfai8n69KavfQaOOPwShuvDmtaTrfjzxTrcmq2a2X2i9nD/AGeIOr/InTJKjJPNWfFHwa0/VNT0/WNH8T674b1e00+PT5LzTpFBuoYwAokUjBIx1rofh18SvCfj6W8g8O3dy9zZBWuLe5tXglRWztO1hyDg9K7HB9DT5pId2eVa/wDBez1W08POvjPxNa6xoSSxw6us6vcypKcuHJGPpjoKgtvgToNv4HXwmmuarJbL4gXXfPl2vKZV/gJ7g9z1r0/XNV03QtLn1TWb6DT7G3AM1xcPsSME4GT25IFWbeSO4hjmhYSRyoHjZeQykZBHsRRzMLsfRQetFSSFQX+PsNxnp5L/APoJqeoNQ/5B9z/1xf8A9BNVH4kJ7Hx9pvhT9rSbT4Ljw/q2qrpEiBrFU1SFQsJ+4AC2Rxjipz4X/bNTpqmtH/uJwH+tfYfwu/5Jx4d/7BsH/oArpK7Z/Ezojsj4W/sL9tBP+Yhrp/7frc/1pP7M/bRT/l515v8At6tj/WvuqipGfCht/wBtJP49fP8A21tj/Wkz+2kn8HiA/jan+tfdlFAHwn9q/bSX/lj4gP8A2ztTS/2p+2gn/Lp4gP8A262x/pX3XRQB8KHxB+2dH10/xAf+4fAf6U3/AISz9sqPrpmvH/uEwn/2Wvu2igD4RPjr9sWPrpOun/uCRH/2SvSf2etV+J8nimXVfijDdWtzr2+yijubNbYmS2QSIwUAA5R5Bn/YxX1LXD/G2xaXwQ+tQRs13oFxHq0G37xEJzIo+sZkH40AaVFRWtxDd2sN3bOJIJ41kjYdGVhkH8jUtABRRWN401PVtI8O3F7oehya5qIKpBZJKI97McZZjwqjqT6CgDZory34U/EvX/EfjvXPBPizwxbaNq+lW6XBazvPtELIxGAT2bkfrXqVABRRRQByXxSzeaDbeGYZmiuPEN7FpqlfvCNjumI+kSvXqEEUcEEcEKBI41CIo6AAYArzjRUj1z4xuzR74fDOncMeguro9vcRJ/5Er0qgAooooAKKKKACiiigAooooAKKKKACiiigAooooAKKKKACiiigAooooAKKKKACiiigAooooAKKKKACiiigAooooAKKKKACiivIPH37SPwl8Hzy2lz4h/tO9jJV7bTYzMysDggtwoP1NAHr9Br4r8WftneINUuXsPh/4JVHfiKW8LTyk+ojTj9TXOp4b/at+L8bPqV3qmmaZMeVuphYQEHsI1wzD8DQB9feOfi38OfBcLt4g8W6bbyr/wAu8colmJ9NiZNeD+O/21fDNmGg8G+Gb7VZe0964t4vwUZY/pVDwP8AsT6fGEuPGvi6e6lzue306PYp9vMfJP5CvevA3wP+Fvg3ypNG8H6ebmMcXV0n2ibPrufOD9MUAfKEnxN/ag+LVwYvC2mX+l2L8A6da/Z4gPeaTk/gfwrV8M/se+OvEd62pfETxlFbSSHdII3a8uGPu7EKPzNfbyqqqFVQoHQAcCloA8P8Cfss/CTwyiPdaPLr90OTNqUu8Z9kXCj8jXsmkaVpmj2SWWk6faWFsgwsNtCsaD8FGKuUUAFMnijnheGaNJI3Uq6OMhgeoI70+igDirjQ9T8MsZ/Dqvf6V1fSmb54R3MDH/0WePQjpWjourWOsWn2qwm3qDtkRlKvE3dXU8qR6GukrnvEPhmO+u/7V0u4OmawoAFzGuVmA6JKnR1/UdjXPXwsK2uz/rf/ADLhUcPQt0Vh6Zrki366Pr1qNN1Uj5F3ZhufeJ/4v904YenetyvHqU5U5cslqdcZqSugoooqCgooooAKKKKACiiufn1i91a8k0zwrHHPJG2251CUZtrY9wP+ej/7I4HcitaNGdaVooidRQV2Tat4n0iwun09Lhb3VFZVGn2rCS4LMMjKA/KMc5bAA70un+GrzVriPUfFhjk2EPBpcbbreAg5DOf+Wr+5+Udh3r5M+N3wb+LHw18bXfxU8DeItS1tnkae7uYxi7iz94PGOJI+OwwB1HGa9N/Z8/ao0Hxibfw/458jQtfYiNLgnba3LfU/6tj6Hj0PavYoUI0Vdb9/8jknNzeux9KjgUUisGUMpBBGQR3pa2JCiiigAooooAKKKKACiiigArk/iX/x66J/2Gbf+TV1lcn8S/8Aj10T/sM2/wDJqaIn8LJqKKK4TIDXz54svLLRv2thqHimW1torjw55Xhy6v8A/j1iuR94EngHOc9+fcV9B1keKfDPh7xTp4sPEejWWq2ytuWO5iDhT6jPQ/Sqi7DTPnuX4ieMdW0H4s6Trd14abUNB0JZINU8Oh03F8nAkLZOPwwc1W1NE0P4ReFLzWvG3jrUNY8ZNbTBLfVUtgX8rPliVxthjwwyeSSBXvekfDrwLpGjX+j6X4V0u0sNRj8q9hihwJ0/uuepH41a1jwX4T1jw5a+HNU8P2F5pFoqLbWksW5IQowu3uMDiq5kVzI+RrybVdd+A/xP03U9d1m4tvDmp28likuqrdthjtaOSZRiVOc8YGQD2rovHN9e6Lo3w58F+HPFWtXuharby3V3cpr0cE8swVT5AumBVFXPC/hX0lpHgPwZpGmahpmmeGdMtLHUUCXlvHABHOoGAGXoeKrv8NvAMnhiPwzJ4S0p9HilM0do0AKJIerDuCfXNHOg5kcl+zLJ4oHhnWLLxHqa6jFa6iU0931OO+mjhKg+XLLHwWHvjrXrNZHhXwz4f8K6adN8N6PZ6VZlzI0VtHtVmIxuPqeOta9Q3dksKg1D/jwuf+uL/wDoJqeoNQ/48Ln/AK4v/wCgmnH4kS9iz8Lv+SceHf8AsGwf+gCukrm/hd/yTjw7/wBg2D/0AV0lds/iZ0R2QUUUVIwooooAKKKKACiiigApk8Uc8EkEyB45FKOp6EEYIp9FAHlvwtaa10G58OXQIuPD97Lppz/FEp3Qt+MTJXWVzusRSaN8YhIGAs/Eem9PS6tj/NonH/fuuioAK5T4tXul2XgLUf7b0fVtX0y4C211baZGzzmNzgsApBwO5BzXV0AkdOKAPmv9mbSprL4s+IbrwdouvaV4AnslyusQlZJLoEY2FvmIA3dSf5V9KUEk9STRQAU2WSOGJ5ZWCxopZ2PYAZJp1cp8U3mm8Lf2FaTGK7125i0uFh1USnEjD6Rhz+FAGx8E7e4k8ISeILyPZda/eS6kykcrG5AhX8IlSu5qGytobOygs7dAkMEaxxqOyqMAfkKmoAKKKKACiiigAooooAKKKKACiiigArG8UeILfQI7RprS8u5LufyIYrZAzltrN3IGMKa2a474j/8AIT8Lf9hNv/SeWtKUVKVmRNtRuh//AAm5/wChV8Q/9+Y//i6P+E3P/Qq+If8AvzH/APF0UV0+yh2MueXcP+E3P/Qq+If+/Mf/AMXR/wAJuf8AoVfEP/fmP/4uiij2UOwc8u4f8Juf+hV8Q/8AfmP/AOLo/wCE3P8A0KviH/vzH/8AF0UUeyh2Dnl3D/hNz/0KviH/AL8x/wDxdH/Cbn/oVfEP/fmP/wCLooo9lDsHPLuR3Pj+G1ga4uvDevwQJy8jQR4Qepw/SuyHIrzfxz/yKOp/9cD/ADFejr90fSsa0IxSaLpybbTFooorA1CiiigAooooAKKKKACsDxb4iGkLFZWMIvdYuwRa2oOB7yOf4Yx3P4Dmjxb4iGkLFZ2UIvdXu8i1tQcfV3P8MY7n8BzWVoWkmxaa9vLg3uq3ZDXV0wwW9EUfwovQL+J5pTmqauy6dN1HZbFJNB1iVfNvPGmvfaH+aQW0kccQY9QilCQvpyad/wAI9qH/AEOnif8A8CIv/jdb9Fcn1ur3/I6/q1LsYH/CPah/0Onif/wIi/8AjdeQN+yh8O7rXL/VdU1HXb17u4efy/OSNULHJHC88k+le/UVLxNR7saw9NbI8/8ACnwq0bwhamLwlqV/pDgfK8ccByR03ny9zD2JrvfCPiKTUJZNJ1aFLTWrZcyxKfkmTtLET1U/mp4NPrM1/SI9Uiikjme0v7ZvMtLuMfPC/wDVT0KngitqWJbdqn39jKphla8Nzs6K5zwj4ik1CWTSdWiS01q2XMsSn5Jk7SxE9UP5qeDXR10tWOVMKKKKQBRRRQAUUUUAFFFFAFLW9J0/WrBrHUrVLiFiGAbgqw6MpHKkdiOa5OZtX8J/LqLT6toi/dvQu64th6SqPvqP74GR3Heu5oPPWpnCNSPLNXQJtO6MS1uILq3jubWaOeGRdySRsGVh6gipax9S8M3el3MmpeE2jhZ2L3GmSHFvcEnkr/zzf3HB7jvUmh63aaqZYVSW1voOLizuF2zRH3HcejDIPrXk4jCSpe8tV/W51U6ylo9zUooorkNgqrquo2Wl2T3moXCW8C/xN3PYAdST2A5NUNZ1xba8XS9Ntm1LV5BlLWI4EY/vyt0Rfc8nsDVnQ/C7LeprHiC4XUdUXmIAYgtPaJD3/wBo/MfbpXdh8E5+9PRfi/67mFSslpHczrfT9Y8VYk1FbjR9EOCtqDsubsf9NCP9Wh/uj5j3I6V2FhZ2thZxWdlbxW9vEoWOKNQqqB2AFT0V6kUox5YqyObd3e4V88ftB/sv+GfHouNc8KiHQPEbAu2xcW123+2o+6x/vD8Qa+h6KYHwT8O/jP8AE/4B+IU8E/ErS72/0aJgqRztulhjHG63l6On+yTj0xX2l8PPHXhfx/oEet+FdWhv7ZwN6g4khb+66HlT9ab8RvAfhb4g6BJovirSob63IPluRiSFsfeR+qmvi34hfBz4ofs++IX8a/DfVb2/0WM5eWFcyRJ12XEQ4dP9oDH0oA++KK+ev2fP2nvDPxAEGieJ/I8P+I2wqq74trpv+mbH7rH+6fwJr6FoAKKKKACiiigAooooAK5P4l/8euif9hm3/k1dZXLfFBHXwx/aCRtJ/Z11DeMqjJKI434/4CWP4VUVd2IqfCx9FNjdJI1kjYOjgMrDoQehp1cBkFFFFABRRRQAUUUUAFFFFABUGof8eFz/ANcX/wDQTU9ZXiy8Fj4cvp/4zC0cS93kf5UUe5YgVdNNySQnsa/wu/5Jx4d/7BsH/oArpKz/AA1Yf2V4e07TeP8ARbWOE49VUCtCuyTu2dC2CiiipGFFFFABRRRQAUUUUAFFFFAHB/G+18vwlB4kiDfaPDl5HqalRyY0ysy/QxM/5CtSKSOaJJoWDxuoZGHQqRkH8q6O9toL2zms7qJZYJ42jlRhwysMEH6g15X4ct/iB4f0O10JvBa6munobeK7TWIkE0aEiNtrLkHbtyD3oA7Oiuc/tDx7/wBE5P8A4PIP/iaP7Q8e/wDROT/4PIP/AImgDo6K5z+0PHv/AETk/wDg8g/+Jo/tDx7/ANE5P/g8g/8AiaAOjrmrGNNc+MdrEQXg8Nae1y/90XNzlEH1Eauf+B07+0PHv/ROT/4PIP8A4mtn4XaLqmm2Oqalr1rFa6tq+oSXU0McokEUYASKPeOGwiL07k0AdhRRRQAUUUUAFFFFABRRRQAUUUUAFFFFABXHfEf/AJCfhb/sJt/6Ty12Ncd8R/8AkJ+Fv+wm3/pPLWtD418/yM6vwj6KKK6zEKKKKACiiigAooooAxfHP/Io6n/1wP8AMV6Ov3R9K848c/8AIo6n/wBcD/MV6Ov3R9KxxHwr5/oXS+Ji0UUVym4UUUUAFFFFABWD4t8RLpCxWdnCL3V7vItbUHGfV3P8MY7n8BzW9XnvhFVn1XxHqE37y7Orz23mtywijICID2UZPHvSlJQi5MqEeeSiXtB0k2LTXt7cfbdVu8G6umGN3oij+FF7L+PWtSiivOnNzd2ejGKirIKKKKgoKKKKACiiigDM1/SE1OKKSOZ7S/tm8y0u4x88L/1U9Cp4IrQ8I+In1CSTSdWiS01q1UGaJT8ky9pYieqn81PBp9YHjSNEj0vUEGy7ttTtVhmXhlV5kR1z6MpII712Yaq21Tlt08jkxFJWc1ud/RRRXScoUUUUAFFFFABRRRQAUUUUAFY3iXw5Y60I5maW0v4Afs17bnbLCfQHuvqpyDWzRTTA4dNavNFuU0/xYsUG47YNSjG22n9mz/qn/wBknB7GkjvdU8UO0Ph5mstMyVl1Z05f1Fup+9/vngdga63W2sI9IupdUjikskiZpllUMpUDJyDwa474R+NR4qj1C3nWOGa3mLQxKMYgJ+UY9un5VgsNRUufl1/Arnm1a51fh/RNO0Oza20+ErvbfNK7FpJn7u7Hlj7mtKiit229yUrBRRRSAKKKKAChgGBVgCD1BoooA+Zv2gv2VNB8XfaNf8B+RoWunLva422ty3XoP9Wx9Rx7d68r+Fvx/wDiB8G9eHgb4saXqF7p1uwjDTjN1bJ0DIx4lj9Ofoe1fdtcf8U/ht4R+JWhNpPinS47jaD5Fynyz27H+JH6j6dD3FAGp4J8W+HfGmgw654Z1W31GxlAw8Tcof7rDqrD0NblfAPjH4b/ABa/Zr8SP4r8Falcaj4e3/vJ4kLIUz9y5i6f8CHHoRX0V+z/APtJeE/iVHDpOqNHoXiUgA2kr/urg+sTnr/unn60Ae6UUUUAFFFFABTZEWSNo5FDIwKspGQQe1OooA87mtb7waTbvb3F74eBzbzwqZJbJT/BIo5aMdmGSBwRxmrtprmi3abrfVrGQe065H4E8V29ZeoeHPD+oyGS/wBD026c9WmtUcn8SKUoQm7vcydN9DE/tDT/APoIWf8A3/X/ABo/tDT/APoIWf8A3/X/ABrQ/wCEK8H/APQq6J/4Ax/4Uf8ACFeD/wDoVdE/8AY/8Kn2MO7FySM/+0NP/wCghZ/9/wBf8aP7Q0//AKCFn/3/AF/xrQ/4Qrwf/wBCron/AIAx/wCFH/CFeD/+hV0T/wAAY/8ACj2MO7DkkZ/9oaf/ANBCz/7/AK/40f2hp/8A0ELP/v8Ar/jWh/whXg//AKFXRP8AwBj/AMKP+EK8H/8AQq6J/wCAMf8AhR7GHdhySM/+0NP/AOghZ/8Af9f8aP7Q0/8A6CFn/wB/1/xrQ/4Qrwf/ANCron/gDH/hR/whXg//AKFXRP8AwBj/AMKPYw7sOSRhX/iPQ7MES6nbvJ/DFC3myMfQKuSTUug6RqOt6rb61rVq9lY2reZY2EmPMaTHE0voR/CvbOTzXU6bo+k6YP8AiW6XZWfY+RAqfyFXquMYw+Hcap66hRRRQahRRRQAUUUUAFFFFABRRRQAUUUUAFFFFABRRRQAUUUUAFFFFABRRRQAUUUUAFFFFABRRRQAUUUUAFFFFABXHfEf/kJ+Fv8AsJt/6Ty12Ncd8R/+Qn4W/wCwm3/pPLWtD418/wAjOr8I+iiqmtLcvo18lkSLpraQQkf39p2/riusyOB8TfHD4c+H9buNHutWubu7tTi6FhZyXC257h2UYFd3oGr6dr+i2mtaRdLd2F3GJYJlBAdT355H418vfC7xVceGfgKR4T1Hwpp/ibTbi7l8R2uuAi4nZSSAoyCzHGBnjtW/pHjm6uPGHwZ1rVNQttE03VdKvHu4IZPs9mZMHGVzt64xnuayU+5Tie3fETxfpfgXwy/iDWkuGtFmihIgTc26Rtq8E9MmmaL400nVvHWseDbVLn+0tJt4bi4LJiMpIAV2nPJ5Ga+YfF+uz6/8Kfibctq0upWaeN7ZbKQzmRFi8wYCdgv04rqta0fUtd+LXxfsNGvrux1P/hHrGa0mtpSjiWNUZRkc4OMH60e0dw5T6Zor55+CfjXVvin8StI1VLy7j07w94djXUoldljm1CUlTuXo2ApPtX0NWkXdXJasYnjshfB+qMxAUW5JJOABkV20fiDQWUbdb008drpD/WuA+KFq198OvEFiriNrmwlhDEZCllxn9a+dU/Yj8QBcj4g6fnHaxkH/ALNWWI+FfP8AQql8TPs5dY0lvu6pYt9Lhf8AGpV1Cwb7t9bH6Sr/AI18VP8AsU+Ll/1PxA00/W3lH9ajb9jHx4v+r8e6Wf8AgMwrlNz7dW4t2+7PE30cVIGU9GH518Mt+xz8S1/1fjjSj/20nH9KY37IPxYX/V+NdKP/AG9Tj/2WgD7qyPUUV8J/8Mk/GNP9X400z8L+4H/stH/DKvxxj/1fjWx/DVLgf+y0AfdlefeCv9Z4i/7D13/MV8rD9mP9oCP/AFfja3/DWJx/Svev2ZtB1zwz8ObjQ/El4LzVbTV7pLmYTGXe24c7jyazrP8AdP5GtD+Ij1Ciig9D9K849A8p8L/HTw74k8RR6PpPhzxVOHvjYm8XTibaOQNtJZwcADv7V1fw08c6f48stVutNs7q2XTdTm06QT7cu8eMsME8HNeJfsnab4+ntr6+0nxXp1p4aj8TXX2vTZNPEk02GG7Ev8ORj6YrhE1a+074W6rbLqV3pWiah8R57XWr21Yq8NscZG4fdB9fauh04vRHOqkt2fahB9KMH0NfItjqP/CJ+LvHth8G9evtY0G28JNeEi7a7jtrzcACjHPzbcn8/SqHhiXw7puq/C3V/h/4y1PV/FusX8K69btqDzGSNgDN5sZOECncPwz71PsfMftfI+p/iR4rs/A3gnUfFeoWtxdWtggd4oMb2BYLxnjvWzpd2moaZa38assdzCkyq3UBlBAP518NeOZvD2seBfiJrfivxbqUfjyPWpbW30171kBt1kG2MQ9GTGTnttFfbHg7/kUNF/7B9v8A+i1pTgopFQm5NmrWB46Yrpdjjvq1iP8AyYSt+uf8ef8AILsP+wvY/wDpQlVhv4sRV/4cj0Ciiiu44AooooAKKKKACiiigAooooAKKKKAK+o2drqFnJaXtulxbyD543GQ31rlPhtouhWsVxf6d4eu9Kn894/9LH7wrx05+4e1dk5whJOMDrXNfDe4t7nQZJrbW7zWIzcuPPukKOpGPlwewoA6aiiigAooooAKKKKACiiigAooooAbNHHNE8M0aSRupV0cZDA9QQeor5Y+P/7J+m61JN4k+GbRaPqwPmPpu7ZbzN1zGf8Alm3t936V9U0UAfDvwh/aT8ZfDXWB4H+MWnahPb2zeWbmZD9stR23Z/1qe/XHQmvs7wr4i0TxTokGteHtTttSsJxmOaB9w+h9D6g8iuY+L/wn8G/FHRjY+JNPH2lFItr+EBbi3P8Ast3H+ycivjfXvCfxi/Zd8Strnh68k1Lw1LJ88yIWtpl7LPH/AANj+L8jQB+gdFeN/AT9oTwf8UreKxMi6N4iCjzNOuJB+8PcxN/GPbqPSvZKACiiigAooooAKKKKACiiigAooooAKKKKACiiigAooooAKKKKACiiigAooooAKKKKACiiigAooooAKKKKACiiigAooooAKKKKACiiigAooooAKKKKACiiigAooooAK474j/8AIT8Lf9hNv/SeWuxrjviP/wAhPwt/2E2/9J5a1ofGvn+RnV+EfRRRXWYnJeIfhr4A8Qam2qa14Q0i+vmOXnltxvY+5HX8at634G8H63o9no+reGtMu9Psv+PW3kgGyH/dHauiopcqHdnMD4feCRpV1pK+F9MSwu547i4tlh2xySJjYxA7jAxWna6DpFjrV9r1jptrDq17EsVxchcNKqD5FY+gwK1KKLILnnnwM+Hcnw+0XVUvrmzutU1bUZL67ktIykS7j8qIDzgDP516HRRQlZWBu5i+Of8AkUdT/wCuB/mK9HX7o+leceOf+RR1P/rgf5ivR1+6PpWWI+GPz/Qql8TFooorlNwooooAKKKKACvPvBP+s8Rf9h67/wDQhXoNee2gfw34jvtO1JQtvq1/Ld2N3/A7yYJhb+64xx/eHTnipqpyptI0otKomzoqKKK8w9Ep6PpOl6Pbvb6Tp9rYwvK0zpbxhFZ26sQO59arw+HfD8OnXenRaJp6WV5I0t1bi3Xy5nbqzLjBJ9TWpRTuxWRm6DoGh6Bava6Ho9hpkDnc8drAsasfU4HNQaR4U8MaPqMupaT4d0qxvZs+ZPb2qI7Z68gZrZoouwsjEv8Awh4Uv7+5v77w3pFzd3UZiuJ5bRGeVD1ViRkitmGOOGJIYUWONFCoqjAUDgAU6ii7CyCuf8ef8guw/wCwvY/+lCV0Fc7q5fxBrFtoGmr5hs7y3u7+4/5Z24jcOE93bA+XsDk1vhYt1U+xjiGlTfmehUUUV2nCFFFFABRRRQAUUUUAFFFFABRRRQBn+ItXs9D0mXUdQlMNumAX2FgpPAyBzjNc78MfE1vrVlLatqNne30TM8htLZ4o1Qn5fvDrV3x3q2lQadLo93BNqF1fRMkdhbKHmkU8bsdFA/vEgVjfBDT9L03wvJHaXHm3zTE3qOu2WJuioynlcD8+cU+V2uK6vY76iiikMKKKKACiiigAooooAKKKKACiiigAqK8tre8tZbW7gjuLeVSkkUihldT1BB4IqWigD5G+Pf7JyS3Enin4TSf2ffxt5zaV5hRCw5zA/wDA2einj0IrC+Cv7UWv+ENSHgv4yWV6fszeT/aEkRFzbn0mT+Mf7Q5+tfa1ecfGr4M+DPipphi1yzFvqaLi31O3UCeL0BP8a/7J/DFAHc6DrGl69pMGraLqFvqFjcLuingcOjD6ir1fnzdWHxn/AGV/EpurSQ6l4Ynl5Zdz2VyM9HXrFJjvx9SK+sfgZ8dfBfxVskhsLkadripmfS7lgJAccmM9JF9xz6gUAeq0Vm6/rul6FAs2pXSxGQkRRgFpJT6Ig5Y/QVhp4yvLgb7TwlrLxn7rTNDCSPXaz5/OqUXa5LnFbnXUVyL+LNaBGzwbfN9b23H/ALPTf+Et1z/oS7z/AMD7f/4qjkfdfehe0idhRXH/APCW65/0Jd5/4H2//wAVR/wluuf9CXef+B9v/wDFU+R9196D2kTsKK4//hLdc/6Eu8/8D7f/AOKo/wCEt1z/AKEu8/8AA+3/APiqOR9196D2kTsKK4//AIS3XP8AoS7z/wAD7f8A+KpU8Wa0T83gy9A9r23P/s9Lkfdfeg9pE6+iuRbxv9lYHVfDms2UR6zLGk6J7t5bEge+K6XTNQstTso73T7qK6t5B8skTblNDi0rjUk9izRRRUlBRRRQAUUUUAFFFFABRRRQAUUUUAFFFFABRRRQAUUUUAFFFFABRRRQAUUUUAFFFFABRRRQAUUUUAFFFFABXHfEf/kJ+Fv+wm3/AKTy12NcR8VLq1srvwxcXlxDbQrqjbpJXCqP9Hl6k8VtQ+Nf10M6vwlmisj/AISfw1/0MOk/+Bif40f8JP4a/wChh0n/AMDE/wAa7OV9jC6Neisj/hJ/DX/Qw6T/AOBif40f8JP4a/6GHSf/AAMT/GjlfYLo16KyP+En8Nf9DDpP/gYn+NH/AAk/hr/oYdJ/8DE/xo5X2C6Neisj/hJ/DX/Qw6T/AOBif40f8JP4a/6GHSf/AAMT/GjlfYLoZ45/5FHU/wDrgf5ivR1+6PpXkvjHxF4fuPC+oQwa5pksrxbURLpCzEkYAGeTXrS/dH0rDEpqMb+f6GlJ6sWiiiuQ3CiiigAooooAKp6zpllq+nTafqECz28owynt6EHqCOoI6VcooTsBwNpPe+H9Si0LXZmmilO3TtRfgTjtFIe0o9f4hz1zW9WprOmWWsabNp+oQLNbyjDKeCPQg9iDyCOlcba3F7oGpRaFrkzTRSnbp2ovwJx2ik9JR+TDkc5FYV6KkuaPzR00a1vdkb1FFFcJ2BRRRQAUUVh6heX2qam/h/w/IEuFA+3X2MpZIew7NKR0Xt1PvpSpSqOyIqVFBXYaheX2q6k/h/w/IEnXH26+xuSyU9h2MpHRe3U+/W6BpFjoemR6fp8WyJMsxY5aRj952PUsTyTRoGkWOh6ZHp+nxFIkyWZjl5GP3nY9WYnkmr9eilGC5Y7HnSk5vmkFFFFAgooooAKKKKACiiigAooqjrerafoti17qVwsEIOBnlnY9FUDlmPYDmhK4XLxOASTgVyGoeJbzV7iTTvCQjdUbZcarIu6CH1EY/wCWr/T5R3Paqs0WreLDv1RZtK0U4KaerbZ7kf8ATZh91f8AYH4ntW/awQ2ttHb20McMMahUjRQqqPQAdK5K+MjT92Gr/Bf5/kaQpOWr0RQ0LRbPSVkeNpbi7nwbm8nbdNOf9pvT0AwB2FRazocd5dJqVjcPp2rRgCO8hAywH8Ei9HT2P4EVsUV5ir1FPnT1Ol04uPLbQzdD8USLex6P4kt00/U34hkU/wCj3fvGx6H/AGD831611Fc/qmn2ep2T2V/bx3ED9Ucd+xHoR2I5FZEF9q/hMBLw3OsaEuAJwN91aD/bA/1qD+8PmHfPWvWoYqFbTaX5+n+RyzpuHmjt6KgsLy1v7OK8sriK4t5V3RyRsGVh7Gp66CAooooAKKKKACiiigAooooAKKKKACiiigCtqmn2Oq6fPp+pWcF5ZzoUmgmQOjqexB4NfJfxb/ZY0zRPEdv408Ea9PoOmW9wJry1V2823Gf+XZhzkn5Qp6EjntX17XKfEw7tM0uBuUm1a2Vx2IDFv5qKcbX1Jk7JmP4a0maALqmsSNdazNGBJLIdxhXAxEmegHc/xHJNbtBorjlJyd2YpWCiiipAKKKKACiiigAooooAKwL7PhfUf+Ei09WSzdwNVtU+46E488Ds69SR1XOe1b9VNahW40e+gkAKyW0ikH0KmtaM3GS7Cfc7BWDKGUggjII70tYfw+uZLzwLoV1KSXksIWYnudgrcrpas7HQndBRRRSGFFFFABRRRQAUUUUAFFFFABRRRQAVDe3VtY2kt5eXEVtbQoXlllcKiKOpJPAFY3jTxdpPhW0je+aWe8uDts7C2XzLm6f+7Gnf3JwB3Irim0XWPF13HqXjry1tI332ugQvut4v7rTt/wAtpB6fcU9AetAHceEfFvh3xZbzT6BqkV4IH2SqAVdPQlWAIBHIOMEcjNblec+IvC9vqV3Dq2n3U2j65bKFt9RtQA4Uf8s5F6SR/wCw34YPNWvC/jq4i1KHw542todK1iT5ba6jJ+xagf8Apkx+6/rG3PpuoA7yiiigAooooAKKKKACiiigAooooAKKKKACiiigAqG7tbW7QR3VvDOgOQsqBgD64NTUUAUP7F0b/oE2H/gMn+FH9i6N/wBAmw/8Bk/wq/RTuxWRQ/sXRv8AoE2H/gMn+FH9i6N/0CbD/wABk/wq/RRdhZFD+xdG/wCgTYf+Ayf4Uf2Lo3/QJsP/AAGT/Cr9FF2FkUP7F0b/AKBNh/4DJ/hR/Yujf9Amw/8AAZP8Kv0UczCyKA0XR1YMuk2AIOQRbpx+lX6KKVx2CiiigAooooAKKKKACiiigAqnrOmWWsabNp+oQia3lGGU8EHsQexB5BHQ1cooTsBxsPhnxVbxiCHxZbSRJ8sbXGmb5NvbcwkG4474Gad/wj/i7/oaNN/8FB/+O12FFPTsvuQ7y7v7zyL4wr8SfDXw71XV/DmoQ6xqsUYFvbWujEuSWALf6w8AZPQ9K+adA/ax8aWOpjTvGmk29p5fyzPBYETK3vG7qP1Ffedcx42+H/grxpbtD4o8NabqeRgSSwjzV+jj5h+BqbRvey+5D55W3Z5V4B+KHh3x9CkGkfFXSLW6mG021zpX2a5XP93fKQT6EbhmvbPD+k2OiaXHYafHtiXLFidzSMers38THqTXy/8AEP8AYt8OXqyXXgbxBdaTPnKW17++h+gYfOP1rzc6T+1J8D5d9jJqWraPCOkLG/tSo9UPzJ+Qqr6WSJd3uz74or5A+H37aVoWWy+IHhaa0mVtr3WnHco9d0TnI/An6V9F+Afir8PvHUUZ8M+KdPvJnAP2ZpPLnHsY2w2fwpAdpRRRQAUUUUAFFFFABRTLiaK3heaeRIokUs7uwCqB1JJ6VxtzrWqeJnNv4dd7DSuRJqrJ88w9LdT2/wBs8egPWk2ormk7IOtkafiHxPHZ3f8AZOlW51PWGGRbo2EhB6NK/RF/U9hWfpehyfbl1jXLoalq2PkcriK2HdYU/h/3vvHuavaNpVjo9p9msYdik7pHYlnlbuzseWY+pq9Xl4jGOfuw0X4s6adG2stwooorhNwooooAKBRRQBz9xo15pd5JqnhaSO3mkbdcWEhxbXJzycD/AFb/AO0OvcGtzw54js9ZMlv5ctnqMA/0iyuBiWP39GX0YZBqSszXdFtNWEckjS215Bzb3kDbZoT7HuPVTkHuK9HD45r3auq79f8AgnNUodYHU0Vx+n+JLzSbiPT/ABb5cYdtlvqka7beY9lcf8snPoflPY9q7AcjNel0utjnuFFFFAwooooAKKKKACiiigAooooAK5T4lf8AHpov/YYt/wD2aurrlPiV/wAemi/9hi3/APZqaIn8LJaKKK4TIKKK4H41fEN/AWj6emnaW2r69rF2LPS7ENtEkh6lj2UZH500rgjvqK8T8VeNPjD4T+HfifWvFGheHLa4sbFLixu7GZpYvMMiqYpEY5yAxORxxXaX/wATfCHhvw9od54y8RWGlXWpWUVwsb7iWLKCSFUEhcnr0p8rHZncUVyPiD4meAdA0bT9Z1fxVp9tp+pKWsp9zOs4HUrtBJxkU9/iP4FTwra+KW8T2A0S6uBaw3uW8tpTnCHjKng9cY70rMLM6uisrwr4i0TxVo0es+HtRh1HT5HZEuIgdrMpww5APBFatIQVBqH/AB4XP/XF/wD0E1PUGof8eFz/ANcX/wDQTVQ+JCexa+GH/JOfDv8A2DoP/QBXR1znww/5Jz4d/wCwdB/6AK6Ou2fxM3jsgoooqSgooooAKKKKACiiigAooqnreq6bommT6nq17BZWcC7pJpnCqo/x9upoAuVwXiTx1cXWoz+HfA9vDqeqRHZdXspP2LTz3EjD78npGvPqVrJvdQ8RePyY4De+G/CrcFuYr/UFz27wREd/vkH+Gui0jTdP0jTotO0uzhs7SEYjhiXao/xPqepoAy/DXhi20m6m1S7up9W1y5GLnU7rBlcf3EA4jjHZF4+p5rfoooAKp6zpen6zpsum6rZw3lpKPnilXIOOh9iOoI5FXKKAOTsdU8QeAAI75rzxF4VQACfBlv8AT1/2wOZ4gO4+cDqG616Po+p6frGmwalpV5Be2c67opoXDKw9iKxK5S78Paloeoza54FnhsrqVt93pcxIsr455JA/1Uh/56KOf4gaAPUaK5nwX4003xK01kYptN1m1H+l6Xd4WeHnG4dnQ9nXIP6V01ABRRRQAUUUUAFFFFABRRRQAUUUUAFFFFABRRRQAUUUUAFFFFABRRRQAUUUUAFFFFABRRRQAUUUUAFFFFABRRRQAUUUUAFFFFABRRRQBwnxA+EHw58dRSDxF4VsJrhwf9KhTyZwfXemCfxzXzr4+/YuMM39ofDvxZJbyodyW2o5yp7bZUGR+I/GvsWigD4HTxT+1D8EXaPWbbUNU0iHgtdx/brbaO4lX5lH1I+len/Dz9s/wnqIitvGuh3miXB4e4tf38GfXH3wPwNfVDKrKVZQykYIIyDXl/xE+APws8cK8mpeGYLO8bJ+16f/AKPLn1O3hvxBoA6/wb448IeMrX7R4X8Rabqq4yVt5wXUf7S/eH4iuir4o8Y/sdeKtCvzqvw08YeY8Z3RRXLm2uEPoJU4P4hawLX4x/tHfB51s/G2j3Wo2EbYDarblwR6LcJ1/EmgD72rK8R6/p+h26Pdu7zynbb20K75p2/uoo5P16Dua8W+GP7RsPxF0SZ9L8NXGkXkMkcE93eyB7G3dwcFpFwT0OFIGfWvUdE0OGxuJNQuLiTUNUnH729mwWI/uoBwieij9ayr1o0Ypy67DhFzdkVDpmpeIplu/FG2O0Vt0GkRtujX0Mx/5aN7fdHv1roQAoCqAABgAdqWivGrVp1XeR2QgoLQKKKKyLCiivEP2soPFkml+HrjS4dduvDMF4z+ILfRJTHePFgbSpHO0fNnHtmrpw55ctxSdlc9uYhfvEL9TigMpJAYEjqAelfLGs6v4Ab4LeHJvDd7rfiXTW8YWqeXqmoSLc2UzH7jEc4GMhTwc9ap+Jde8VeH7z4/ar4VkEd3bahamS4MxR7aLYd0kfqwOBj3NbLDt9f6uR7Q+tKK4f4Hap4t1n4b6XqPjK0tIL+aCNont5/N8+IxqVlc9nbJyK7iueSs7Fp3QUUUUhkd1BBdW8ltcwxzQyKVeORQysD2IPWsCGPV/Ch3aYs2q6KDlrFm3XFsP+mLH76j+4efQ9q6Oit6GInRem3YznSU/Us6Lq2n6zYre6bdJcQklSRwUYdVYHlWHcHmrtcXreki2nm1/Sb6LSNQRC00z/8AHvOo7TL0I/2uGHr2r5/+L37WHiDwV4rj0e08G2E8RtY5jJcTyDzC2fmQgcxnGQcDNezSqRqx54HG04vlkfWlFfDqftv+JP4/Amkn6Xkg/pU6ftwa1/H4B08/S/f/AOJqwPtuivipP24dQ/j+H9qfpqLf/EVMn7cUv8fw8Q/TU/8A7XQB9n0V8bp+3HF/H8OXP01Uf/GqlX9uOx/i+HFx+Grr/wDGqAPsOivj9f24tM/i+Hd4Ppqq/wDxupF/bh0X+L4fagPpqSH/ANkoA+vK5T4lf8emif8AYZt/5NXzkv7cHh/+LwDqg+l9Gf8A2Wrvh79p7RPif4x8OeErPwtqGnTz6nHKJpbhHUBFYkYAzTRM/hZ9C0UUVwmIV5F+0d4c8TXk3hLxn4T07+1dQ8Lan9rewBw88TY3bfUjb0969do6GmnZjTseB/E3xT4m+I3wi8XaVZfDbxJpSf2ehja+jAknm81P3ccY5bAyc+1cZ498JeK9K8e6f4kl0rxPc6beeGrSxD6NZ29zNbSJGFeJ0mRgoJycjHXr1r6vyc9aKpTt0HzHy1faX4t8LeAfA2meH/DPidNFH2tr1v7OtrrVbVnfKJh1KRq3XgdPpWJYeB/FTfAJdFvfDGqm6fx/HcyWk9uDIbc/edlUbdvPJA2+nFfYGTS8+9HOPmILS1tbO3W3s7eG2gT7scSBFH0A4qaiioICoL/mxuB/0xf/ANBNT1BqP/IPuf8Ari//AKCaqPxIT2Pmvw9+2L4b8OaJZ+H5vBurTyadCtq8qXUYDlBtJAI6HFaA/be8Kd/BGtD/ALeYq9h+H3w0+Ht/4E0O8vfBegz3E1hFJLLJZIWdioJJOOSTW03wj+GDfe8B+Hj/ANuKf4V2z+JnRHZHgy/tu+EP4vBeuD/tvF/jUi/tt+Cz97wfro/7axf417i3wd+FjdfAPh7/AMAk/wAKjb4L/CdvvfD/AMP/APgGtSM8WX9tjwN/F4U18f8AAov8aev7a3gLv4Y8QD/v1/8AFV7E3wR+Ebdfh74f/wDAQVGfgX8Hz1+Hfh//AMBhQB5Kv7anw9/i8O+IR/wGP/4qnr+2l8OT10HxCP8AtnH/APFV6qfgR8Hj/wA070H/AMB//r0xvgH8G26/D3RPwjI/rQB5iv7aHw176N4iH/bGP/4upF/bO+GB+9pfiIf9u8f/AMXXor/s9/Blv+af6UPpvH/s1Qv+zp8F2/5kPTx9HkH/ALNQBwi/tl/Cs9bDxEP+3VP/AIupPht8QvC/xm+JGqahGupXVlpsEMukWt/GEhiccTOIwSGkDFDuOSAwxiuxf9mz4Kt/zI9qPpPKP/Zqq6z4B8M/C2LQNX8G6OmnWMGreVqKK7NmK6CwliWJOFcRH04NAHoFFFFABRRTJpYoYXmmkSKJFLO7sFVQOpJPQUAPorK8NeI9B8S2k154f1a01S3hlMMkttIHVXABK5HfkVq0AFFFFAHFfGK0tF8JXGtpHMmt2KgaTdWrbLiO4dgsaqw6hmIBU5BGcivU9NS6j062jvpVmulhQTyKuA7gDcQO2TmvOdehl1r4heFtAjYfZrWSTWb4eqw/LCv4yuD/AMAr06gAooooAKKKKACiiigAooooAKKKKACiiigAooooAKKKKACiiigAooooAKKKKACiiigAooooAKKKKACiiigAooooAKKKKACiiigAooooAKKKKACiiigAqK7t7e7t3t7qCKeFxh45UDKw9CDwalooAw9B8H+FtAtL600Xw/p1hbahIZbuGCBVSZiMZZenQVjXOj6p4XJn0FJdS0gEs+mM2ZYB6wMeo/6Zn8D2rtaKUoxkuWSug2d0c5o+qWOr2f2rT5xLGGKuMENGw6qynlWHoau1S8QeGFurw6vo1wNM1gDBmVcx3A7LMn8Y9+o7GqOla4z3w0jWbX+zNWx8sLNmO4A6tC/8Y9uo7ivKxGDdP3oar8V/Xc6ada+ktzboooriNwriviT4d8bavdafqHgnxuPDl1aq6Swz2YuLe5VsYLKejLjgj1rtaKcZOLuJq54QP2fpI/BkWlL4nFxq0/iWHX9Tvprbas8iE5REU/KOeK3Z/g6bx/ifHe60ot/HBQx+VCd9ptXAzk4bnB7cV61RWnt59yeRHI/CTw74i8KeC7XQvEniCDW7i0AignhtfJVIVUKiY7kAdT6111FFZt3dykrBRRRSGFZuu61Z6QkazeZNdTkrbWkC7pp29FX+ZPA7mqN1rV3qV5LpXheGO7uYyVuL2TP2a0PoSPvv/sD8SK2/Dfhuz0eSS7eSS+1Ocfv76fBkf/ZHZF9FHFejh8C371XRduv/AADnqV+kTLsPDd7rE8eoeLPLMaNvt9KjbdDH6GU/8tX/APHR2B610lzpmm3Lh7nT7SZwAu6SFWOPTkVbor0lZJJbHOZraBoLfe0XTT9bVP8ACmHw14cb72gaUfrZx/4Vq0UAY7eFfC7fe8N6OfrYx/8AxNRt4O8It97wtoh+thF/8TW5RQBz7eCPBjfe8JaCfrp8X/xNRnwD4Gbr4N8Pn/uHRf8AxNdJRQBzDfDvwC33vBfh4/8AcOi/+JqNvhr8PW+94H8On/uHRf8AxNdXRQByDfC/4cN97wL4cP8A3Dov8K5/xd4D8FaDPoWpaL4U0bTr1dXgVZ7azSNwCGyAQM816fXJ/Ev/AI9NE/7DNv8AyamtyZ/CyavNf2jvGmreCfh19r0Dy11jUL2HT7OSRcrE8h5fHsBx716VXFfGnwHH8RfAs/h/7abC7WZLmyugu7yZkOVJHp1Brija+pktzjpPAvjHwj4Y1rWbr4n67rX/ABI7w31reAFDN5LFXhI5j2t+lc38B/jFcW/hnwH4c8Q+G9eSLVl+xW2vXThormcE8DJ3EdBuNddp/h341appl9pXi7xD4XNjJpdxaBbK3fzLqR4iiPIzD5QCQTt61Qg+E3iCPwh8KtIN5p5n8Iaglzfne22RRniPjk898VenUq6L/jL4z3nhPWZU1j4d+IINCivVs21dnjEZLNtDhM5Kk9KTxl8bDofjDXPDGm+Btb1+60e2ju5pLNl2CFk3M7E/dwMcc5rzrxd+z7471jVtYZtS8M38d3qv2+HUr1Zjfqm8MIQ3KooHYV6nY/D3WIPiL478RNdWn2XxDosNhaoGO9JEj2kvxgDPpmi0QtExvD37QOm6vq3hxW8H6/Y6L4huBaWWrXKqInuD1QAEkgHjd+NcV4b+Kus+DfF3xRlufDXiLxLp1lrrSTTwSgw6fAMjHzHj/dHpXVW/wf8AEUfw8+GXh1r3TvtPhXWUvr1t7bJEDMSE45PPfFZ2s/Cf4ppd+O7fw74g8O22leMdQkkuUuInaWGFuNysBjcQWBH60/dDQ63xJ8bNNtrnSLHwr4d1PxXf6npq6otvZsqeTbN0Zy3frx7VT1H4/aLF4Z8K65p3h3VtT/4SOee1htINvnxXEWAYyvcliBkH3rm/GH7P97Hqehal4VXw7qh0/RotKuLTxBAzxSeX92VSvIbrW5a/CfXI3+G8oTw7Yt4b1O4vdQg06JoYGEmMCJcHJ45zilaIWieteGr+71TQbPUL/SrjSbqeIPLZTsDJA391iOCas6j/AMg+5/64v/6CanFQaj/yD7n/AK4v/wCgmph8SM3sWvhd/wAk48O/9g2D/wBAFdJXN/C7/knHh3/sGwf+gCukrtn8TOiOyCiiipGFFFFABRRRQAUUUUAFY/jXRI/EnhHVdCkbaL61eFX/ALjEfK31BwfwrYooA888A6tJrXg7TNQuCPtRh8q6A/hnjJSQf99q1btcr4fjj0P4h+KPDSgpFcSJrVop6bZsrKB9JUJP++K6qgAqlrmj6Zr+mS6RrFnHe2NwVE0EmdsgDAgHHUZA471drL8V6FZ+JfD93oeoS3cVtdKFke1mMUoAIPyuOR0oA8h/Y6hit/CvjCCCNIoo/FV2iIgwFACgADsK9yrz34a/B/wh8PdZm1Xw7JrCzTRvHIlzftLG24glip43fKOetehUAFFFYvjnWf8AhH/CGqawqGSW3t2MEY6ySn5Y1HuWKigBnwphTVPEfinxdv8AMSe7XS7M9hBbZDEfWVpP++RXodYXw/0NfDfgvSdEUfPa2yrKf70pGXb8WLH8a3aACiiigAooooAKKKKACiiigAooooAKKKKACiiigAooooAKKKKACiiigAooooAKKKKACiiigAooooAKKKKACiiigAooooAKKKKACiiigAooooAKKKKACiiigAooooAKoa7o+na3Ymz1K3WaPO5Gzh427MrDlWHqKv0U07A1c4aWfVvCreXrLS6lo2cJqSpmW3HpOo6j/poB9QOtdBBLFPAk8EiSxSKGR0YFWB6EEda2GAZSrAEHgg965C+8N3uizSX/AIT2eU7b7jSZG2wyepiP/LJ/b7p9B1rir4ONT3oaP8P+B+RpCq46PVG1RWboWtWerxyCDzIbmAhbm1mXZNA3oy/yPQ9jWlXlSjKD5ZKzOtNNXQUUUVIwoorI1rXYrG5j0+1t5NR1WYZisoCN2P77noif7R/DNXTpyqS5Yq7JlJRV2X9SvrPTbKS8v7mO3t4x80jnAHt7n2rGgtNX8WfNcLc6NoR/5Z/cu7se/eJD6fePtV7RvDE0l7FrHiaeO/1BOYIEB+zWn+4p+83+2efTFdTXr0MLCjq9ZfgvT/M5J1JT8kV9NsbPTbKKysLaK2tohhI41woFWKKK6SAooooAKKKKACiiigAooooAKKKKACuT+Jf/AB6aJ/2Gbf8Ak1dZXKfE/EejWF452xWuqW0sjHoq79pJ9vmpx3In8LJaKO9FcJkFFFFABRRRQAUUUUAFFFFABVfUf+Qfc/8AXF//AEE1Yqjr9wlroV/cyHCxW0jH8FNVD4kJ7Gh8Lv8AknHh3/sGwf8AoArpKxfAlnJp/gvRbGUESQWMKMD2IQZrartl8TOiOyCiiipGFFFFABRRRQAUUUUAFFFFAHnvxVRtL8R+FvFSRjy4rttLvW9IbnAVj7CVY/8Avo1uVZ+IGht4l8FatoccgimurZlgk/55yjmNvwYKfwrnPBWtDXPCemarKyJPcW6mdNw+SUfLIv4MGFAG1RTfMj/56J/30KPMj/56J/30KAHUU3zI/wDnon/fQo8yP/non/fQoAdXLeKI5NY8a+FfDUY3Qm6bVb3uPKt8FAfrK0f/AHya6fzI/wDnon/fQrE+GUS6t4z8U+KfMEkSSpo9kR0CQfNKR9ZXYf8AAKAPQ6KKKACiiigAooooAKKKKACiiigAooooAKKKKACiiigAooooAKKKKACiiigAooooAKKKKACiiigAooooAKKKKACiiigAooooAKKKKACiiigAooooAKKKKACiiigAooooAKKKKACiiigDD8SeG7TWJI7yOWSw1OAfuL6DiRf9luzp6qePpWNaa1d6fex6T4ohjtLqQhbe7jz9muz6KT9x/wDYb8Ca7Wq+pWNnqVlJZX9tFc28ow8ci5BrOrShVVp/eOMnB3iUaRiFUsxAAGST0Arnri11rwmC1ul3rmiDAES/PeWo9s/61Pr8w96fbaJqfiZluPEaPY6Xw0elK/zy+9ww6/7g49c1wRy+fNZvTv8A8A3eIVttRi6lqXiOZrXwwRFZg7ZtXkTMY55WFT/rG/2vuj36V0nhzQdP0K2aKzR3llO6e5mbfNO3952PJ/kO1aMMUUMKQwxpHGgCoiLhVA6AAdKfXowhGnHlgtDnbcneQUUUVQBRRRQAUUUUAFFFFABRRRQAUUUUAFFFFABVTWNPtdW0u5029jElvcxmORfY/wBat0U07aged6bqE+k3SeH/ABFIIr1Pktbp+I75B0ZT034+8vXPI4rerd1LT7HUrRrTULSC6gbrHKgZT+Brmn+H2iBj9ku9bsU/5522pzKg+g3HFRKlCTvexi4SWxY5o5qt/wAK/wBP/wCg74m/8G0v+NH/AAr/AE//AKD3if8A8G0v+NT7CP8AN+AuWXYs80c1W/4V/p//AEHvE/8A4Npf8aP+Ff6f/wBB7xP/AODaX/Gj2Ef5vwDll2LPNHNVv+Ff6f8A9B7xP/4Npf8AGj/hX+n/APQe8T/+DaX/ABo9hH+b8A5ZdizzRzVb/hX+n/8AQe8T/wDg2l/xo/4V/p//AEHvE/8A4Npf8aPYR/m/AOWXYsOyohd2CqBkknAArBgU+NL+K0swW0CCUSXl2OEumU5EMf8AeXIBZunGOcmtq28AeHkkEl4t/qhHRb+9knT/AL5Y7T+IrqYY44YlihjSONRhVUYCj0A7VcIRg7p3Y1Tb3HUUUUzYKKKKACiiigAooooAKKKKACiiigArlrr4c+A7q5lubjwfoks0zmSR2s0JdicknjqTXU0UAcl/wrP4e/8AQl6F/wCASf4Uf8Kz+Hv/AEJehf8AgEn+FdbRQByX/Cs/h7/0Jehf+ASf4Uf8Kz+Hv/Ql6F/4BJ/hXW0UAcl/wrP4e/8AQl6F/wCASf4V0OjaXpui6dHp2k2NtY2cWfLgt4wiLk5OAOOSSa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B//Z">
            <a:extLst>
              <a:ext uri="{FF2B5EF4-FFF2-40B4-BE49-F238E27FC236}">
                <a16:creationId xmlns:a16="http://schemas.microsoft.com/office/drawing/2014/main" id="{E0A3E4E5-9F64-409E-8379-0E70B0AC031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" name="AutoShape 8" descr="data:image/jpg;base64,%20/9j/4AAQSkZJRgABAQEAYABgAAD/2wBDAAUDBAQEAwUEBAQFBQUGBwwIBwcHBw8LCwkMEQ8SEhEPERETFhwXExQaFRERGCEYGh0dHx8fExciJCIeJBweHx7/2wBDAQUFBQcGBw4ICA4eFBEUHh4eHh4eHh4eHh4eHh4eHh4eHh4eHh4eHh4eHh4eHh4eHh4eHh4eHh4eHh4eHh4eHh7/wAARCAFKA0Q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82+MXxUh+HuqaLZf2RLqQvH86/dJNosbMOkbTtxzhpFGPrzQB6TRWbruv6HoVil9rWr2OnWrkKkt1OsasT0AJPNV9U8XeFtLs7S81LxFpVpbXoBtZZrtEWYHuhJ+YfSgDaorJ13xN4c0FYG1rXdN00XB/c/arlI/M/3dx5rB8WfFDwd4X8U6N4e1jVra3n1aKSaKVpkWKJFXIZyWGA3RSAckGgDtKKRSGUMpBBGQR3paACiiigAooooAKKKKACiiigAorn/AIj+Iz4Q8B614nFp9rOmWj3Ag37fM2jpnnFZfgzxB4vvLc6l4u0PRNE0o2q3CXEOqGUjIBwwZFCjB65oA7SiueTxdoup+H9T1LwzrGkau1jC7ny75PKVwpIEjjOwcdT0HNY+meN7ufxfoWh3drYRxaj4ffVp54bnzUjZWjG1H6MmHJ3ewoA7mis4a9opsbG+GrWJtb90js5vPXZcO33VQ5wxPYDrULeJ/Da6tHpDa9pg1GSVoUtTdJ5rSKASoXOcgEHHvQBr0VkWHijw3f6zNo1jr+mXOpQ5821iukaVMdcqDnirup6lp2lxRy6lfW1nHJIIkeeUIGc5IUE9+Dx7UAWqK5z/AITzwT/Zf9qf8JdoX2HzvI+0fb4/L8z+5uzjPtWlrOvaJo2mDU9X1ewsLE4xcXFwscZz0wxODmgDRorOt9d0W40Q65b6vYS6WELm8S4UwhR1O/OMfjXL6F8Q7HXfiWPDei3Gnajph0X+0Rf2twJMuJvLKfLxjHPrQB3NFZGl+KPDeq6pPpema/pl7fW+fOt4LpHkTHXKg5rXoAKKKKACiiigAoorz7xp408T2PxDtPBvhbw7p+qXU2ltqUkt5fm3VEEvl7RhGyc0Aeg0Vzcni3TdF02xPjTVNF0HUrhAXt5L9dobPRWbaWHvgVJqWvXNv4r0rS7dNNls720nuGke9Cz/ACBSvlxYzIp3csDxx60AdBRXHfDLxvB4o8G6Dq+pNZ6ff6wsxgtBNy5jdgwQHlsBcn0rem8QaFCt60usWEa2EqxXha4UC3dsbVfn5SdwwD6igDTorDPjDwmNJn1c+JNI/s+CYwS3X2xPKSQdULZxu9utaelajYarYRX+mXtve2kozHNBIHRh7EcGgCzRXnWreP8AXb3xdqXhvwJ4Xh12XR9q6pd3V8LWCGVl3CFTtYu+0gnjAyMmuh/4TDTdM0Gxv/GNxY+F7q5X57W+vYwUfPKhs4b6j1oA6SiqQ1bSy9ig1G0LagCbMCZT9owu47OfmwvPHamSa5o0a6g0mrWSLppAvi06gWxKhh5nPy8EHnsaANCisiw8T+G7/RZdbs9e0240yIkSXcdyhhQjrls4FT6Drmja/ZG90PVbLUrYMVMtrOsihvQlT1oA0KKKKACiiigAooooAKKKhv5/stjcXW3d5MTSbc9cDOKAJqK88+BPxLHxL8Ly6lc6V/Y9/A0ZlszN5mIpY1kikBwMhkb06gjtVT4b/FmDxp8QPE3h6HSvsunaPGJbfUXmBW7QSPG7hcfKoeN8HPOKAPTqKxtF8U+HNdluYdD17S9Tnth+9jtrpJCn+9tJwPes/QPGNjJ4X0/VfEmoaHpc94krqsepJLCwQnJSQ4DYABOOlAHU0VxnjH4neDvDPgSTxnNq9rfaUHEcT2c8cnnuWxtQ7gCRySM9Aa1v+Ey8Jjw/H4gbxHpSaVI21LxrtBEzdMBs4Jz2oA3aKzT4g0IabbakdZ08WV0wW3uPtCeXKSCQFbOCcA/kabo3iTw/rVhNqGka3p1/aQErNPb3KOkZHUMQcD8aANSisfQ/FPhrXRc/2Lr+maj9l/1/2a6STyv97B4pmneL/Cmo6lDpun+JNIur2aITRW8N5G8joRncFByRigDborJvfE/hyx1qHRLzXtMt9Tnx5VpLdIsz56YQnJpL7xR4bsdZh0W91/TLbUpseXaS3SLK+emFJzzQBr0VmeKJ9cttIeXw7p9nqGoBl2QXVyYIyM8kuFbHHtXnngH4ieMtfvdSm1bwzoOkaPpGpTafqV42sEmJ4lBZlBjAK/MvJI70AerUVlaH4l8Pa5ZzXmja5p2oW0BImltrlJFjOM/MQeOPWuX8c/ErSNM+Hes+KfC9/pevPpjQo8cN0HQM8qJhihOOGJ/CgDvaKpQarps2pyaVHfWzajFCs8tqsoMsaNwGK9QCehq7QAUUUUAFFFFABRRRQAUVwXxf8W+LPBmiXviDSPDmm6rpOn2T3V28+oNBKNmSVVQjA8D1FO8O+N7230VdW+ISeHvC9tcpG9k39rB/NDLk53qmCMjpnrQB3dFZV/4k8P6fosetX2uadbaZKAY7uS5RYnB6YYnBz7Vi3njOP/hNfC2j6b9kvdP122u7gXkcu4AQqhXaRwQdx/KgDr6Kp6Rqmm6vaG70q/tr63DtH5tvKHTcpwwyOMg8GvPPAvjvxx4uvZ7qw8JaTHoUGqz2ElzJqrCfbDIUZxH5eM8ZA3UAen0Vj2/inw1casukwa/pcuoO0irapdIZS0f+sG3Ocrg59MUuj+KPDes309hpOvaZf3dv/robe6SR4+3IByKANeisOXxj4Tj1K402TxNo6XtsVE9ubyMSRliAAy5yMkgfUitBNU02S4vbdL+2aaxCm7jEoLQAruG8fw5HPPagC5RWRfeJ/DljokOt3mvabb6ZOqtDdyXKLFIG5BVicHPtUj+INBTTrbUm1nT1srpgtvcG5QRysQSArZwTgH8jQBp0Vm6F4g0PXrKS90TWLDUraNikktrcLIiMOoJU8GqVp428H3cM81r4p0WeO3lSGZo72NhHI7bVViDwSxwPU0Ab9FVZtS0+HU4NMlvbdL64RpIbdpAJJFXG5lXqQMjJ96tUAFFFFABRRRQAUUUUAFFFFABRRRQAV4FNovi74heKviDqlha6E2jXkTeGbf8AtUTK/kxKfNeMKPutK7HPcoPSvfaAABwAKAPmNtUju/Afg7VfEuvyaD4y8MC803fe6W95aXMsWIpEkUL1dVQqwIY5OM1a8Y62E0/w347nSHw94vPh3YPD15o8lzaXsbPv+zphcxyFlGMHcAwyMV9I7F/ur1z070FVJGQDjpx0oA+ZvF51KL4rajrHirWovCNpq+hWK2IvNDXUIlHlnz7YORiNhISSv8WQe1XbnT9E8FyfCDVLy8uNT8O6dBfWkmpz6c+797HmEPHtLIMgqoI44r6MZVYYZQR7ilIDDBAI96AERlZFZfukZHHaloooAKKKKACiiigAooooAKKKKAOC/aHjkm+B/jGKKN5HbSpgqopLE47AVzWuaRc+C/g5fa3ZTa14mnOm24NhrE73tvGCU3P5OMnYCWwOSFxXsRAIwRkUUAfLnhiWXUPF3j+6t9ZGv283gV41vbbRTYQyOGk+RVAxIRnGeTzjtXV+E7C6uPEHge3WCRWf4cyQZZCArnyAAfQ+1e7hVAwFAGMdKAo44HHA4oA+WtI8QWV74F+E/g2C11M61ofiCxj1SBrCVRZmMuh8xiu0ZJGME5HNeheDPDaz6n8W9SsdNiTxBc6tPDZXkkeJARaR+VtYjgBmPI7k17HtXJ+UcnPSlAAzgAZ60AfLHwk0mwvJPAml6l42a11jRLmOU6MnhnyLqK4VGWRJJgMlTlsuThuDXrH7Q+l2+s6b4P0+8she2kviywFxCyFlZPnzuH931zxXp21dxbaMnqcc0EA4yM80AeIWHg/QJfjv8QWl8N2TQHw9ZrGGtB5eXWUPtGNuSFUHHPArkPCVxb6Tpnwi8ReOrO4m8O2nh65tRLNaPNHZ3paMRPIoBK/uldQxHH419P4Gc4GaQqpXaVG30xxQB8uapp32rwv4p8Rafot4fAV34x0/UDYpaOn2iyjCi6lWDAby2kAbGPmCk45rXBsPEnxN8Xaj8NtPkt/t/gWe2tL6Kza2iubsOQpQsBkrlRux274r6N7Y7UgVVxhQPoKAPmT4RabpOoax4Ghk8bFNS0Mhk0eLwz9kuIXERWSKaQDheuSeGIB5r6cpAqhiwUAnqcUtABRRRQAUUUUAFePeM/Dr+IP2jdPjbUdb0yKPwrIftGm3LQMW+1D5S4HI74r2GjAznAz60AfPfxf1CbS/Edz4Xn1CPS7aLQUFvqV5oh1S81hmMgaAORjK4GR1JfPSovhpb3n9qfBhpoLgNF4NvUkLo2UbZAAGz0PHQ19EEAkEgEjp7UBV4+UcdOOlAHzL4YlXw34S+DfizWIbqDStLn1GC+mFu7m2MwkWNnVQSFJGM47iqOrvH4l8G/GW9t7C+ax1PX9OaFZrV4nmixApYKQGwQDz6V9UbV27dox6Y4oKqc/KOevFAHgvx20RtE8XeB76wmg8O+GLBLqKW5j0hby3tbhkQRM8OMDKqyiQj5fbNdd+z5penWGi63eaX4mfX4dR1R7l5V042cKSFFDCKPGNpwCSOCc+9emkAjBAI9KAABgAAUAeH+FPEWnfC7x7450zxp9qsLfWdYbV9Mv/ALLJLDcxyRopTcinDqykbTz0xVb4l+NUv/E+iPF5Ph3Sr/SJJ4dY1Dw493cTt5m37IsbD5CR8+Dy2RgV7wyqw+ZQfqKCAcZAODkZoA+Z/CFwfDXw9+DHibW4b2HTdIur6K+l+yOWthLHNHGzoASi5wOnGRUkT6B4os/ivf6tPq+kaPf69p81tff2dIWQpBCY5miKktFuQE7hgg84r6UKqV2lQR6Yo2jngc9eOtAHy74p1HxN4q+GlrdNHB/ZejeLoDc6tp+jMYb60RM/ajaN99VdgGHIO3I4FeifAmx0ybxV4i8Raf42XxHLeW9tDcrb6P8AYbdShfY3A2u+CQSOQMZ7V6+AAMAAD0pFVVGFUAegFAC0UUUAFFFFABRRRQAVT10E6HfgAkm2kwB/umrlFAHylbL4m8F+BPAGv+FtMupr7xT4UtfDlwiIf9Hu/LBtrhx22hpAc+1dTZ6PL4H8Z+L7HR9BOsR6V8P7OG3tGiJS9kR59yHj5ixySOp3e9fQe1cAYGB0pcDOcDPrQB80/C7UJNW+M/hy+i1qDVV/4R+9WcWWgGwgs2PkkQbsfOQQflPK496b4N0ODUtK+BtpqulfabeG41OWSKeElUYK5QsCMdcEZ719LhVHRQPwoCrx8o46cdKAPm3x5oL/APCEfGvTtM0ljCmqW13BbQ25Iz5MDytGoHU4Ynb71J8TNRtNV8V+BvF+ka0uleE47G7gTUm0Q3VvbXRKffiYDYWUMocjsRnmvo/A54HPWk2rt27Rt9McUAfOD+F9Hn8BeHbKHUz4p0vU/H0N3Of7NNrAAwO9EixgR7hnj5SWNa/iGKTwz49+KV5ofhaHUE/4RmxnXThbfuLqQGZTlFGGwoGQOSBiveNq4AwMDpx0pcDOcDPrQB80fDi8k1L4vi8g1yLW4T4Ru45JrPQjYW8T+ZERCDj94Rz15X8TU/hbwzp2n/Bz4RX1nokdtqKa/YTSzJb7ZgZGcSFmxuwQcHPGMV9HhVHRQPwo2rgDaMDpxQB4H4Vv/CGi+KvGOh+PNFkuvEWo+JXuLYSaW9w15AxT7M0TBSNqAeo24J4ri9V0eObU/HHhrxh4z/4R+41TXbmYQSeG/tM9zAzg28kNwAWbCBAMfcK4r6w2rkNtGR0OKCqkhioJHQ46UAQ6fGYbC3haV5ikSqZHGGfA6n3NeBRX+o6D8NPiZf2+gxalJ/wmdwfKu7Rp4kjZoAZzGBmRUGXwOu2voSkwADwOaAPmPwnHpus+IPiH/a2vXesaHe+F4IbnUtO0NrION8obykUHzCoP3gD6dqi1nVtQ1b4MeOtBtZLTW7Cwh09LLXbHSmtTdEzpmNo8YZ4woJK/L83QHNfUIVV+6oH0FG1du3aNvpjigDyX4Ewv4f17xH4V8Q2jt4rNwb6fV3Qn+2bdziOYN0XaPkMY4XHAwa9bpMDO7Az60tABRRRQAUUUUAFFFFAHCftCRyTfA7xpFDG8kjaNchURSSTsPAA61w3xG1y40uTwVp8z2Oh2c2jF21260Y37RyKsYFqi4wrODnnrtwK90IBGCMikKqQAVBA9qAPlzw5a6bH8FvCF9q3iCfw/qGm61qU+mXV3ozSW5YzSqUmgxiMMjfKOCP4at+NYPGXj7R/AUmm2f9gazd6TquYIYmhikUbP3eThoVmUcHhlD19MFVIwVBHpilwM5wM0Acl8INU0XVfh/pr6FpLaLbWyG1fTWiMbWcsfyvER3IPfv17159+z34SaTT9R1ubWfElo6eJdRcWKXrR2rgXD4zFjBB/WvbgAM4AGaAAOgAoA+fvDvhW4ufhb8V59C0oJ4lv9a1lLecR7Z3O5lUIx5GVJAxxz71mfCTTtL1TxL4Okh8dh9S0W2kEWkweGvsUkWYdjxTuBwAecN1IBFfSgAHQAUgVQSQoBPU460AfH93d+Frb4NaR4XvtDnXxvYeI7d9QZ9NcSwzG/XfO8xXG11IAO47twH09I1rxBY+D/AIlfE211q31FZvEFjayaSsFlJN9sK2zRMiFQQWDdQcYBzXr3jPwzpvizRf7J1Qzrb/aILgmFwrF4ZFkTnB43KM+1bZAJBwMjoaAPlV7TUtP0T4R6tqGqNoOkWvhc2xvZ9I+3RWt2yx4Dxn/VlkDAOfQjvWyfCujS+BfCthBqR8U6VqPj+K7nZtNNtBhw5dVixgRbhn+6cmvpAqpXaVBHpjijauAMDA6cdKAPnf4i+HtR/t/4u6b4R02WCa98Mae8cNmnliZw0ocLjA3mNdvHPSt60tvhx8S/Aep+GPCemrbXp0RYfPTTHtzaspBjjZ2QfOsiqdvJGCa9rwM5wM+tNeMNG6KSm4H5l4IJ7/WgDxP9njUNR8eeINQ+IWsW0kEllYQ+H7eOUcrNF814w+suBn0Svbqw/AvhfS/Bvhm30DSPPa2hZ3Mk775ZXdy7u7YGWLMSeK3KACiiigAooooAKKKKACjvRRQAUUUUAFFFFABRRRQAUUUUAFFFFABRRRQAUUUUAFFFFABRRRQAUUUUAFFFFABRRRQAUUUUAFFFFABRRRQAUUUUAFFFFABRRRQAUUUUAFFFFABRRWN4k8R2Oi+XAyyXd/PkW1lAN0sp9cfwr6scAU0gbNS7uLe0t3uLqeKCFBl5JGCqo9yelSRusiB0YMrDKsDkEetcRFot5rNwmoeLGiuCpDQaah3W1ufU5/1r/wC0eB2FJHY6p4YkM3h1TeaZnMmku+NnPJgY/d/3Dwe2KwWJoufJza/gVyTS5rHc0Vm+H9c07XbM3GnzFtjbJYnXbJC/dXU8qfrWlW7TW5NwooopAFFFFABRRRQAUUUUAFFFFABRRRQAUUUUAFFFNkdY42kkYKigszE4AA70AOrNvPEGhWUhjvNa063cdVluUUj8Ca42e5vvGTNcSXFxZ+HiSLe3iYxyXq/89JGHIQ9lGMjk+lXrHRdHsYhFZ6XZQIOgWFf54yaUpwg7PcydR9Dc/wCEs8Lf9DJo/wD4Gx/40f8ACWeFv+hk0f8A8DY/8azPsdn/AM+lv/36X/Cj7HZ/8+lv/wB+l/wqfbQ7MXPI0/8AhLPC3/QyaP8A+Bsf+NH/AAlnhb/oZNH/APA2P/Gsz7HZ/wDPpb/9+l/wo+x2f/Ppb/8Afpf8KPbQ7MOeRp/8JZ4W/wChk0f/AMDY/wDGj/hLPC3/AEMmj/8AgbH/AI1mfY7P/n0t/wDv0v8AhR9js/8An0t/+/S/4Ue2h2Yc8jT/AOEs8Lf9DJo//gbH/jR/wlnhb/oZNH/8DY/8azPsdn/z6W//AH6X/Cj7HZ/8+lv/AN+l/wAKPbQ7MOeR0Gn6vpWoNtsNTsrs4ziGdXP6GrtcJqHh7RL/AAbjTLcSKcpLGvlyIfVXXBB/GpdB1bUNE1W30fWrp76xu28uxv5MeYknUQynuSM7W74weetxlGfw7jVTXU7aiiig1CiiigAooooAKKKKACiiigAooooAKKKKACiiigAooooAKKKKACiiigAooooAKKKKACiiigAooooAKKKKACiiigAooooAKKKKACiiigAooooAKKKKACiiigAooooAKKKKACiiigAooooAKKKKACiiigAooooAKKKKACiiigAooooAKKKKACiiigAoJwM1R1vVtP0Wwe+1K5S3hXgE8lmPRVA5Zj2A5rlJ49X8V5OprNpWiH7tirbbi6X1mYfcX/YHPqe1TOcaceabsgSbdkWtS8TXeqXEmm+E1jlKMUuNTkGbeA9wn/PV/YcDue1S6FolppRlmVpbm+uMG5vJzummI9T2HoowB6VoWtvBa28dtbQxwwxqFSNFCqo9ABUleTiMXKr7q0j/AFudVOio6vcKKKK5DYxtZ0Jbq7XVNOuX03V41CpdxDO9Qc7JF6OvseR2IqxofihmvU0fxDbppuqNkRENmC6A7xOe/wDsH5h79a0aq6rp9lqlk9lqFulxA/VWHQ9iD1BHqORXdh8a4LlnqvxX9djCpRvrHc6CiuJg1DV/Cnyag1xrGhjpcgb7q0Ho4HMiD+8PmHcHrXX2N5a31nFeWVxFcW8q7o5I2DKw9iK9SLUlzRd0c2qdmT0UUUwCiiigAooooAKKKKACiiigAooooAK5b4nsz+GBp6O0f9o3UNmzKcEI7jfj/gIYfjXU1ynxL/49NE/7DNv/ACaqi7O5E/hY9I0jjWONQiKAqqOgA6ClFLRXAZBRRRQAUUUUAFFFFABRRRQAVl+LLNb7w5fwY+cQtJE3dZE+ZGHuGANalQah/wAeFz/1xf8A9BNXTbU00J7G74av/wC1PD2nan3urWOY49WUE1oVznwv/wCSc+Hf+wdB/wCgCujrrluzoWwUUUUhhRRRQAUUUUAFFFFABRRRQAUUVHdXFvaW0lzdTRwQRKXkkkYKqKOpJPAFAElcZ4x8dR6dqDeH/Dtn/bniMpu+yo+2K1U9HuJOka+3LHsO9Yl94o1vxwzWvhCWXSfD5ysuutHia5GeVtUYcA/89WGP7oPWtbw5oWl+HtP+w6TaiGIsZJGLFpJnPV3c8ux7kmgDKsfGPiPwpJt+IAtr3S5SCNa0+ApHasx+5PFyVQZwJBkY+9jrXpNtNDcwR3FvNHNDIoZJI2DKwPQgjgiucZVZSrKGUjBBGQR6GuRi0nWvBc733ghFutMZi9z4fmk2x8nJa2c/6puvyH5D/s9aAPVaKw/B3irR/FVi9xpkzrNC3l3VpOhjuLaTukiHlT+h6gkVuUAFFFFABRRRQAUUUUAFFFFABRRRQAUUUUAFFFFABRRRQAUUUUAFFFFABRRRQAUUUUAFFFFABRRRQAUUUUAFFFFABRRRQAUUUUAFFFFABRRRQAUUUUAFFFFABRRRQAUUUy4mit4XmnkSKJAWd3bCqPUk0APrnfEXidLK6/srSrY6nrDLkW6NhIR/elfoi/qewrMuda1TxOTB4deTT9KyRJqjJiSYdxAp7f8ATQ8egPWtLRdKsNHtDbWMHlqzF5GJLPIx6s7HlifU1z18TCjpu/63/wAi4U3P0KGmaHJ/aA1jXboanqoz5blcQ2wPVYk/h/3jlj69q3KKK8epVlUlzSZ1xgoqyCiiioKCiiigAooooAK5+40a80q8k1TwtJHBLIS9xp8hxbXR9f8Apm/+0OPUGugorWjXnRd4sicFNakfhvxHZ60ZLfy5LPUYP+Piyn4ljPr/ALS+jDINbVctrui2mrCKSRpLe8gyba7gbbNCfVT6eoOQe4qGw8SXmkTx6d4s8tA7BLfVI12wTHsJB/yyf6/Kex7V7NCvCv8ADo+3+RyTg4b7HX0UAggEcg0VqSFFFFABRRRQAUUUUAFFFFABXKfEv/j00T/sM2/8mrq65T4l/wDHpon/AGGbf+TU0RU+FktFFFcJkFIzKqszsqqoyWY4AHqTS14h+1LLcalqXgLwNJqE1ho/iPWPJ1OSJ9hkjXbiMt2BJ/lTSuxpXPX5Nc0WPT59Rk1jT1srf/XXH2lPLj/3mzgfjV2GSOaFJoZFkjdQyOpyGB6EHuK8F+OPwy8F+B/gl401Dwto/wDZclxpsdvMkcrlHUTIQSpJ+b3rG8X/ABi8QaFfaN4M8M3Wj6U1l4ftbq6vdSs57kSu0SlYkSJWI4x8x4qlG+w7XPpaivANR+Lviq++GPhjxHa6l4Z8KX2omdLyPVreeV3eNto8iFFLsDySccZFZifHLxlc/A+z8WWdppL64vidNFmHlMLe4U5+ZVPKZ469PSjkYcrPpKisTwTH4oj8Owr4yuNMuNY3MZn09GSHaT8oAbnIGAT3rbqCQqvqP/IPuf8Ari//AKCasVX1H/kH3P8A1xf/ANBNVD4kJ7Fv4Yf8k58O/wDYOg/9AFdHXOfDD/knPh3/ALB0H/oAro67Z/EzojsgoooqRhRRRQAUUUUAFFFFABRRXD+L/Gl5HrE3hbwjYrf65GiNdTT5W009XGVaVurMRyI15Pcgc0AbXjLxZo/hW0il1KSSS4uG8u0srdPMuLp/7saDk+54A7kVxD6PrPjG6j1HxyqQ2CMHtfD0Um+FCDlXuGH+uf8A2fuD0J5q/wCGvDEGl3kur393Nq+vXC7bjUrkDeVznZGo4jjHZF/HJ5roKAEACgKoAAGAAMACloooAKKKKAOe8SeGItSvY9Z0y8l0bX4F2walbqCxXOfLlU8Sxn+634EHmrvhfx1KNTh8OeMrWLSNakJW2lRibTUMd4XPRvWNvmHbcOa1Kpa5pOm65pkumatZxXlpKPnjkGRnsR3BHYjkUAdnRXllvrevfD2Nv7Ylu9f8KRgn7aRvvdOT/pqOs0Y/vj5wOoPWvTrS4gu7SG6tpVlgmRZI3U5DKRkEfUUAS0UUUAFFFFABRRRQAUUUUAFFFFABRRRQAUUUUAFFFFABRRRQAUUUUAFFFFABRRRQAUUUUAFFFFABRRRQAUUUUAFFFFABRRRQAUUUUAFFFFABRRWR4l8T+HfDVq114g1zTtLhA3Frq4WPj2yeaANeivnnxx+138LdCEsWjNf+IrlMhRaw+XET/vvjj3ANeNav+1L8Y/HUzad8PfCa2JclQ1naveTjP+0RtB/4DQB9peLfE2keGLBbrVbkRmQ7YYgR5kzeij+Z6Dua43w/eWnxBabUL3VtP1CytJ/L/suxuVmghkGCPOdeJHxg4+6PfrXyvB+z7+0F8ULyHUPH2uNZR4JVtTvDI8YPULEmQv04r3H4G/DZfgONT03VNWub6w1WaNo9Q8sLbRuoIw45MbHOMklTgcis6/P7N+z3/H5Dhy83vbHtYAAAUAAcADtS0gIZQykEEZBHQilrwDvCsP4g6ldaP4D1/VrF1S7stNuLiBmUMFdIyykg8HkdK3KwfiJp93q3gDxDpdhF5t3d6ZcQQR5A3O0bBRk8Dk1ULcyuJ7GB8JvGE2qfBHRfGviu+gjkk037Xf3JURooGdzYHA4HaqvgT41+A/GWurouk3WoRXksD3FsLyyeBbqNRlmjLD5hjmvMPDPhv4pa18DZvg/rXgM6DCujtbw6w+qRSK8yMHRWjXJAYjaTk4Gah+FPw98cQeKtDutf8G6tZXehWM0Vnqd94nF3bxS+UVXy4AMhC2OM4Aro9lD3m3+KM+aWh6X4e+PHw/1zxJZ6DbSavb3F/IYrKW702SGK5cfwozDkntV5PjJ4Jf4ey+OBcXv9mRX39nvH9mP2gXG8J5fl9c5IP0rwvRPh/wDGrUvGHg6+8WaPqtw+j67HdX17c69HNA6Bj88NuMCMAemSfSuhm+EfjBvjlLYLYJ/wrqfxEniWWYSrzOsZPlbM5/1h9MVTpUr7/iJTkekeK/jr8PPDPiCfRNSvb9p7Uot7Lb2MksNmzYwsrqMKeeR2qz4u+M3gbw14gh0O6ub+9u5IIrhv7PsnuEhik+47svABBB+hrxPxX8KPH1j4v8Z29v4X1bxJoniO/ku0ax8TLYQlX6pPEQd2On0FanxJ+H/xCHiTTG+H/gyfSNRs7GztIPENrryohjRFDRXELD96FIIBxyAOvSj2VLTX8UHNI+nAQQCOhGRS1HaiZbaJbhleYIokZRgFscke2c1JXGbBUdzBDc28lvcQxzQyKVeN1DKwPYg9akqO5nhtreS4uZo4YY13PI7BVUepJ6U1e+gnbqYEEWr+FTu0lZtU0UH5tPZt09svrCx+8v8AsH8D2rlfG37Snwu8Iawmlarf6g9w0KzHyLNnCg5+VuhVgQcqRkV1UEur+Kzt0tp9K0U/ev2XbPcj0hU/dU/3z+A71j+J/wBn/wCE/iS/W/1jwstxdCMRmUXUqswGeWwwy2Sck8mvoKXtOT978X9b+f8ATOCXLze5t/WxyQ/a7+DR63+sD66c3+NPX9rj4MH/AJimqj66dJWi/wCy18E2/wCZUkX6X83/AMVUT/sqfBVv+Zcul+l/L/8AFVQFdf2tPguf+YzqQ+unSf4U9f2sPgqf+Y9fD66dL/hSN+yd8F2/5gd+v01CT/Gom/ZI+DDf8wrVB9NRegC0v7VnwUP/ADMl0Prp03/xNPX9qj4Jt/zNE4+unz//ABNZrfsh/Bo9LHWV+mot/hSL+yD8Gwcm01th6HUT/hQBsL+1F8E2/wCZtYfWxm/+JqVf2nPgo3/M4oPrZzf/ABFYEn7IHwdZSFt9cjPquoHj8xULfsd/CMnKtr49vtw/+JoA6pf2lvgo3/M7W4+ttN/8RVLVPjN8NPGmp6BofhnxVbahqMmrQukCxSKSqhiT8ygcCubl/Y2+FLfduvEMf0u1P80qKz/Zu8DfDfxT4e8VaFfazLew6pHGqXMyNHh1YHgKD+tNEz+Fnt1FFFcJiFcn8UPAOg/ETw8uj66s8fkyie1urd9k1tKOjo1dZXLfEL4geE/AVnBc+JtUW1Nw223gRGkmmPfai8n69KavfQaOOPwShuvDmtaTrfjzxTrcmq2a2X2i9nD/AGeIOr/InTJKjJPNWfFHwa0/VNT0/WNH8T674b1e00+PT5LzTpFBuoYwAokUjBIx1rofh18SvCfj6W8g8O3dy9zZBWuLe5tXglRWztO1hyDg9K7HB9DT5pId2eVa/wDBez1W08POvjPxNa6xoSSxw6us6vcypKcuHJGPpjoKgtvgToNv4HXwmmuarJbL4gXXfPl2vKZV/gJ7g9z1r0/XNV03QtLn1TWb6DT7G3AM1xcPsSME4GT25IFWbeSO4hjmhYSRyoHjZeQykZBHsRRzMLsfRQetFSSFQX+PsNxnp5L/APoJqeoNQ/5B9z/1xf8A9BNVH4kJ7Hx9pvhT9rSbT4Ljw/q2qrpEiBrFU1SFQsJ+4AC2Rxjipz4X/bNTpqmtH/uJwH+tfYfwu/5Jx4d/7BsH/oArpK7Z/Ezojsj4W/sL9tBP+Yhrp/7frc/1pP7M/bRT/l515v8At6tj/WvuqipGfCht/wBtJP49fP8A21tj/Wkz+2kn8HiA/jan+tfdlFAHwn9q/bSX/lj4gP8A2ztTS/2p+2gn/Lp4gP8A262x/pX3XRQB8KHxB+2dH10/xAf+4fAf6U3/AISz9sqPrpmvH/uEwn/2Wvu2igD4RPjr9sWPrpOun/uCRH/2SvSf2etV+J8nimXVfijDdWtzr2+yijubNbYmS2QSIwUAA5R5Bn/YxX1LXD/G2xaXwQ+tQRs13oFxHq0G37xEJzIo+sZkH40AaVFRWtxDd2sN3bOJIJ41kjYdGVhkH8jUtABRRWN401PVtI8O3F7oehya5qIKpBZJKI97McZZjwqjqT6CgDZory34U/EvX/EfjvXPBPizwxbaNq+lW6XBazvPtELIxGAT2bkfrXqVABRRRQByXxSzeaDbeGYZmiuPEN7FpqlfvCNjumI+kSvXqEEUcEEcEKBI41CIo6AAYArzjRUj1z4xuzR74fDOncMeguro9vcRJ/5Er0qgAooooAKKKKACiiigAooooAKKKKACiiigAooooAKKKKACiiigAooooAKKKKACiiigAooooAKKKKACiiigAooooAKKKKACiivIPH37SPwl8Hzy2lz4h/tO9jJV7bTYzMysDggtwoP1NAHr9Br4r8WftneINUuXsPh/4JVHfiKW8LTyk+ojTj9TXOp4b/at+L8bPqV3qmmaZMeVuphYQEHsI1wzD8DQB9feOfi38OfBcLt4g8W6bbyr/wAu8colmJ9NiZNeD+O/21fDNmGg8G+Gb7VZe0964t4vwUZY/pVDwP8AsT6fGEuPGvi6e6lzue306PYp9vMfJP5CvevA3wP+Fvg3ypNG8H6ebmMcXV0n2ibPrufOD9MUAfKEnxN/ag+LVwYvC2mX+l2L8A6da/Z4gPeaTk/gfwrV8M/se+OvEd62pfETxlFbSSHdII3a8uGPu7EKPzNfbyqqqFVQoHQAcCloA8P8Cfss/CTwyiPdaPLr90OTNqUu8Z9kXCj8jXsmkaVpmj2SWWk6faWFsgwsNtCsaD8FGKuUUAFMnijnheGaNJI3Uq6OMhgeoI70+igDirjQ9T8MsZ/Dqvf6V1fSmb54R3MDH/0WePQjpWjourWOsWn2qwm3qDtkRlKvE3dXU8qR6GukrnvEPhmO+u/7V0u4OmawoAFzGuVmA6JKnR1/UdjXPXwsK2uz/rf/ADLhUcPQt0Vh6Zrki366Pr1qNN1Uj5F3ZhufeJ/4v904YenetyvHqU5U5cslqdcZqSugoooqCgooooAKKKKACiiufn1i91a8k0zwrHHPJG2251CUZtrY9wP+ej/7I4HcitaNGdaVooidRQV2Tat4n0iwun09Lhb3VFZVGn2rCS4LMMjKA/KMc5bAA70un+GrzVriPUfFhjk2EPBpcbbreAg5DOf+Wr+5+Udh3r5M+N3wb+LHw18bXfxU8DeItS1tnkae7uYxi7iz94PGOJI+OwwB1HGa9N/Z8/ao0Hxibfw/458jQtfYiNLgnba3LfU/6tj6Hj0PavYoUI0Vdb9/8jknNzeux9KjgUUisGUMpBBGQR3pa2JCiiigAooooAKKKKACiiigArk/iX/x66J/2Gbf+TV1lcn8S/8Aj10T/sM2/wDJqaIn8LJqKKK4TIDXz54svLLRv2thqHimW1torjw55Xhy6v8A/j1iuR94EngHOc9+fcV9B1keKfDPh7xTp4sPEejWWq2ytuWO5iDhT6jPQ/Sqi7DTPnuX4ieMdW0H4s6Trd14abUNB0JZINU8Oh03F8nAkLZOPwwc1W1NE0P4ReFLzWvG3jrUNY8ZNbTBLfVUtgX8rPliVxthjwwyeSSBXvekfDrwLpGjX+j6X4V0u0sNRj8q9hihwJ0/uuepH41a1jwX4T1jw5a+HNU8P2F5pFoqLbWksW5IQowu3uMDiq5kVzI+RrybVdd+A/xP03U9d1m4tvDmp28likuqrdthjtaOSZRiVOc8YGQD2rovHN9e6Lo3w58F+HPFWtXuharby3V3cpr0cE8swVT5AumBVFXPC/hX0lpHgPwZpGmahpmmeGdMtLHUUCXlvHABHOoGAGXoeKrv8NvAMnhiPwzJ4S0p9HilM0do0AKJIerDuCfXNHOg5kcl+zLJ4oHhnWLLxHqa6jFa6iU0931OO+mjhKg+XLLHwWHvjrXrNZHhXwz4f8K6adN8N6PZ6VZlzI0VtHtVmIxuPqeOta9Q3dksKg1D/jwuf+uL/wDoJqeoNQ/48Ln/AK4v/wCgmnH4kS9iz8Lv+SceHf8AsGwf+gCukrm/hd/yTjw7/wBg2D/0AV0lds/iZ0R2QUUUVIwooooAKKKKACiiigApk8Uc8EkEyB45FKOp6EEYIp9FAHlvwtaa10G58OXQIuPD97Lppz/FEp3Qt+MTJXWVzusRSaN8YhIGAs/Eem9PS6tj/NonH/fuuioAK5T4tXul2XgLUf7b0fVtX0y4C211baZGzzmNzgsApBwO5BzXV0AkdOKAPmv9mbSprL4s+IbrwdouvaV4AnslyusQlZJLoEY2FvmIA3dSf5V9KUEk9STRQAU2WSOGJ5ZWCxopZ2PYAZJp1cp8U3mm8Lf2FaTGK7125i0uFh1USnEjD6Rhz+FAGx8E7e4k8ISeILyPZda/eS6kykcrG5AhX8IlSu5qGytobOygs7dAkMEaxxqOyqMAfkKmoAKKKKACiiigAooooAKKKKACiiigArG8UeILfQI7RprS8u5LufyIYrZAzltrN3IGMKa2a474j/8AIT8Lf9hNv/SeWtKUVKVmRNtRuh//AAm5/wChV8Q/9+Y//i6P+E3P/Qq+If8AvzH/APF0UV0+yh2MueXcP+E3P/Qq+If+/Mf/AMXR/wAJuf8AoVfEP/fmP/4uiij2UOwc8u4f8Juf+hV8Q/8AfmP/AOLo/wCE3P8A0KviH/vzH/8AF0UUeyh2Dnl3D/hNz/0KviH/AL8x/wDxdH/Cbn/oVfEP/fmP/wCLooo9lDsHPLuR3Pj+G1ga4uvDevwQJy8jQR4Qepw/SuyHIrzfxz/yKOp/9cD/ADFejr90fSsa0IxSaLpybbTFooorA1CiiigAooooAKKKKACsDxb4iGkLFZWMIvdYuwRa2oOB7yOf4Yx3P4Dmjxb4iGkLFZ2UIvdXu8i1tQcfV3P8MY7n8BzWVoWkmxaa9vLg3uq3ZDXV0wwW9EUfwovQL+J5pTmqauy6dN1HZbFJNB1iVfNvPGmvfaH+aQW0kccQY9QilCQvpyad/wAI9qH/AEOnif8A8CIv/jdb9Fcn1ur3/I6/q1LsYH/CPah/0Onif/wIi/8AjdeQN+yh8O7rXL/VdU1HXb17u4efy/OSNULHJHC88k+le/UVLxNR7saw9NbI8/8ACnwq0bwhamLwlqV/pDgfK8ccByR03ny9zD2JrvfCPiKTUJZNJ1aFLTWrZcyxKfkmTtLET1U/mp4NPrM1/SI9Uiikjme0v7ZvMtLuMfPC/wDVT0KngitqWJbdqn39jKphla8Nzs6K5zwj4ik1CWTSdWiS01q2XMsSn5Jk7SxE9UP5qeDXR10tWOVMKKKKQBRRRQAUUUUAFFFFAFLW9J0/WrBrHUrVLiFiGAbgqw6MpHKkdiOa5OZtX8J/LqLT6toi/dvQu64th6SqPvqP74GR3Heu5oPPWpnCNSPLNXQJtO6MS1uILq3jubWaOeGRdySRsGVh6gipax9S8M3el3MmpeE2jhZ2L3GmSHFvcEnkr/zzf3HB7jvUmh63aaqZYVSW1voOLizuF2zRH3HcejDIPrXk4jCSpe8tV/W51U6ylo9zUooorkNgqrquo2Wl2T3moXCW8C/xN3PYAdST2A5NUNZ1xba8XS9Ntm1LV5BlLWI4EY/vyt0Rfc8nsDVnQ/C7LeprHiC4XUdUXmIAYgtPaJD3/wBo/MfbpXdh8E5+9PRfi/67mFSslpHczrfT9Y8VYk1FbjR9EOCtqDsubsf9NCP9Wh/uj5j3I6V2FhZ2thZxWdlbxW9vEoWOKNQqqB2AFT0V6kUox5YqyObd3e4V88ftB/sv+GfHouNc8KiHQPEbAu2xcW123+2o+6x/vD8Qa+h6KYHwT8O/jP8AE/4B+IU8E/ErS72/0aJgqRztulhjHG63l6On+yTj0xX2l8PPHXhfx/oEet+FdWhv7ZwN6g4khb+66HlT9ab8RvAfhb4g6BJovirSob63IPluRiSFsfeR+qmvi34hfBz4ofs++IX8a/DfVb2/0WM5eWFcyRJ12XEQ4dP9oDH0oA++KK+ev2fP2nvDPxAEGieJ/I8P+I2wqq74trpv+mbH7rH+6fwJr6FoAKKKKACiiigAooooAK5P4l/8euif9hm3/k1dZXLfFBHXwx/aCRtJ/Z11DeMqjJKI434/4CWP4VUVd2IqfCx9FNjdJI1kjYOjgMrDoQehp1cBkFFFFABRRRQAUUUUAFFFFABUGof8eFz/ANcX/wDQTU9ZXiy8Fj4cvp/4zC0cS93kf5UUe5YgVdNNySQnsa/wu/5Jx4d/7BsH/oArpKz/AA1Yf2V4e07TeP8ARbWOE49VUCtCuyTu2dC2CiiipGFFFFABRRRQAUUUUAFFFFAHB/G+18vwlB4kiDfaPDl5HqalRyY0ysy/QxM/5CtSKSOaJJoWDxuoZGHQqRkH8q6O9toL2zms7qJZYJ42jlRhwysMEH6g15X4ct/iB4f0O10JvBa6munobeK7TWIkE0aEiNtrLkHbtyD3oA7Oiuc/tDx7/wBE5P8A4PIP/iaP7Q8e/wDROT/4PIP/AImgDo6K5z+0PHv/AETk/wDg8g/+Jo/tDx7/ANE5P/g8g/8AiaAOjrmrGNNc+MdrEQXg8Nae1y/90XNzlEH1Eauf+B07+0PHv/ROT/4PIP8A4mtn4XaLqmm2Oqalr1rFa6tq+oSXU0McokEUYASKPeOGwiL07k0AdhRRRQAUUUUAFFFFABRRRQAUUUUAFFFFABXHfEf/AJCfhb/sJt/6Ty12Ncd8R/8AkJ+Fv+wm3/pPLWtD418/yM6vwj6KKK6zEKKKKACiiigAooooAxfHP/Io6n/1wP8AMV6Ov3R9K848c/8AIo6n/wBcD/MV6Ov3R9KxxHwr5/oXS+Ji0UUVym4UUUUAFFFFABWD4t8RLpCxWdnCL3V7vItbUHGfV3P8MY7n8BzW9XnvhFVn1XxHqE37y7Orz23mtywijICID2UZPHvSlJQi5MqEeeSiXtB0k2LTXt7cfbdVu8G6umGN3oij+FF7L+PWtSiivOnNzd2ejGKirIKKKKgoKKKKACiiigDM1/SE1OKKSOZ7S/tm8y0u4x88L/1U9Cp4IrQ8I+In1CSTSdWiS01q1UGaJT8ky9pYieqn81PBp9YHjSNEj0vUEGy7ttTtVhmXhlV5kR1z6MpII712Yaq21Tlt08jkxFJWc1ud/RRRXScoUUUUAFFFFABRRRQAUUUUAFY3iXw5Y60I5maW0v4Afs17bnbLCfQHuvqpyDWzRTTA4dNavNFuU0/xYsUG47YNSjG22n9mz/qn/wBknB7GkjvdU8UO0Ph5mstMyVl1Z05f1Fup+9/vngdga63W2sI9IupdUjikskiZpllUMpUDJyDwa474R+NR4qj1C3nWOGa3mLQxKMYgJ+UY9un5VgsNRUufl1/Arnm1a51fh/RNO0Oza20+ErvbfNK7FpJn7u7Hlj7mtKiit229yUrBRRRSAKKKKAChgGBVgCD1BoooA+Zv2gv2VNB8XfaNf8B+RoWunLva422ty3XoP9Wx9Rx7d68r+Fvx/wDiB8G9eHgb4saXqF7p1uwjDTjN1bJ0DIx4lj9Ofoe1fdtcf8U/ht4R+JWhNpPinS47jaD5Fynyz27H+JH6j6dD3FAGp4J8W+HfGmgw654Z1W31GxlAw8Tcof7rDqrD0NblfAPjH4b/ABa/Zr8SP4r8Falcaj4e3/vJ4kLIUz9y5i6f8CHHoRX0V+z/APtJeE/iVHDpOqNHoXiUgA2kr/urg+sTnr/unn60Ae6UUUUAFFFFABTZEWSNo5FDIwKspGQQe1OooA87mtb7waTbvb3F74eBzbzwqZJbJT/BIo5aMdmGSBwRxmrtprmi3abrfVrGQe065H4E8V29ZeoeHPD+oyGS/wBD026c9WmtUcn8SKUoQm7vcydN9DE/tDT/APoIWf8A3/X/ABo/tDT/APoIWf8A3/X/ABrQ/wCEK8H/APQq6J/4Ax/4Uf8ACFeD/wDoVdE/8AY/8Kn2MO7FySM/+0NP/wCghZ/9/wBf8aP7Q0//AKCFn/3/AF/xrQ/4Qrwf/wBCron/AIAx/wCFH/CFeD/+hV0T/wAAY/8ACj2MO7DkkZ/9oaf/ANBCz/7/AK/40f2hp/8A0ELP/v8Ar/jWh/whXg//AKFXRP8AwBj/AMKP+EK8H/8AQq6J/wCAMf8AhR7GHdhySM/+0NP/AOghZ/8Af9f8aP7Q0/8A6CFn/wB/1/xrQ/4Qrwf/ANCron/gDH/hR/whXg//AKFXRP8AwBj/AMKPYw7sOSRhX/iPQ7MES6nbvJ/DFC3myMfQKuSTUug6RqOt6rb61rVq9lY2reZY2EmPMaTHE0voR/CvbOTzXU6bo+k6YP8AiW6XZWfY+RAqfyFXquMYw+Hcap66hRRRQahRRRQAUUUUAFFFFABRRRQAUUUUAFFFFABRRRQAUUUUAFFFFABRRRQAUUUUAFFFFABRRRQAUUUUAFFFFABXHfEf/kJ+Fv8AsJt/6Ty12Ncd8R/+Qn4W/wCwm3/pPLWtD418/wAjOr8I+iiqmtLcvo18lkSLpraQQkf39p2/riusyOB8TfHD4c+H9buNHutWubu7tTi6FhZyXC257h2UYFd3oGr6dr+i2mtaRdLd2F3GJYJlBAdT355H418vfC7xVceGfgKR4T1Hwpp/ibTbi7l8R2uuAi4nZSSAoyCzHGBnjtW/pHjm6uPGHwZ1rVNQttE03VdKvHu4IZPs9mZMHGVzt64xnuayU+5Tie3fETxfpfgXwy/iDWkuGtFmihIgTc26Rtq8E9MmmaL400nVvHWseDbVLn+0tJt4bi4LJiMpIAV2nPJ5Ga+YfF+uz6/8Kfibctq0upWaeN7ZbKQzmRFi8wYCdgv04rqta0fUtd+LXxfsNGvrux1P/hHrGa0mtpSjiWNUZRkc4OMH60e0dw5T6Zor55+CfjXVvin8StI1VLy7j07w94djXUoldljm1CUlTuXo2ApPtX0NWkXdXJasYnjshfB+qMxAUW5JJOABkV20fiDQWUbdb008drpD/WuA+KFq198OvEFiriNrmwlhDEZCllxn9a+dU/Yj8QBcj4g6fnHaxkH/ALNWWI+FfP8AQql8TPs5dY0lvu6pYt9Lhf8AGpV1Cwb7t9bH6Sr/AI18VP8AsU+Ll/1PxA00/W3lH9ajb9jHx4v+r8e6Wf8AgMwrlNz7dW4t2+7PE30cVIGU9GH518Mt+xz8S1/1fjjSj/20nH9KY37IPxYX/V+NdKP/AG9Tj/2WgD7qyPUUV8J/8Mk/GNP9X400z8L+4H/stH/DKvxxj/1fjWx/DVLgf+y0AfdlefeCv9Z4i/7D13/MV8rD9mP9oCP/AFfja3/DWJx/Svev2ZtB1zwz8ObjQ/El4LzVbTV7pLmYTGXe24c7jyazrP8AdP5GtD+Ij1Ciig9D9K849A8p8L/HTw74k8RR6PpPhzxVOHvjYm8XTibaOQNtJZwcADv7V1fw08c6f48stVutNs7q2XTdTm06QT7cu8eMsME8HNeJfsnab4+ntr6+0nxXp1p4aj8TXX2vTZNPEk02GG7Ev8ORj6YrhE1a+074W6rbLqV3pWiah8R57XWr21Yq8NscZG4fdB9fauh04vRHOqkt2fahB9KMH0NfItjqP/CJ+LvHth8G9evtY0G28JNeEi7a7jtrzcACjHPzbcn8/SqHhiXw7puq/C3V/h/4y1PV/FusX8K69btqDzGSNgDN5sZOECncPwz71PsfMftfI+p/iR4rs/A3gnUfFeoWtxdWtggd4oMb2BYLxnjvWzpd2moaZa38assdzCkyq3UBlBAP518NeOZvD2seBfiJrfivxbqUfjyPWpbW30171kBt1kG2MQ9GTGTnttFfbHg7/kUNF/7B9v8A+i1pTgopFQm5NmrWB46Yrpdjjvq1iP8AyYSt+uf8ef8AILsP+wvY/wDpQlVhv4sRV/4cj0Ciiiu44AooooAKKKKACiiigAooooAKKKKAK+o2drqFnJaXtulxbyD543GQ31rlPhtouhWsVxf6d4eu9Kn894/9LH7wrx05+4e1dk5whJOMDrXNfDe4t7nQZJrbW7zWIzcuPPukKOpGPlwewoA6aiiigAooooAKKKKACiiigAooooAbNHHNE8M0aSRupV0cZDA9QQeor5Y+P/7J+m61JN4k+GbRaPqwPmPpu7ZbzN1zGf8Alm3t936V9U0UAfDvwh/aT8ZfDXWB4H+MWnahPb2zeWbmZD9stR23Z/1qe/XHQmvs7wr4i0TxTokGteHtTttSsJxmOaB9w+h9D6g8iuY+L/wn8G/FHRjY+JNPH2lFItr+EBbi3P8Ast3H+ycivjfXvCfxi/Zd8Strnh68k1Lw1LJ88yIWtpl7LPH/AANj+L8jQB+gdFeN/AT9oTwf8UreKxMi6N4iCjzNOuJB+8PcxN/GPbqPSvZKACiiigAooooAKKKKACiiigAooooAKKKKACiiigAooooAKKKKACiiigAooooAKKKKACiiigAooooAKKKKACiiigAooooAKKKKACiiigAooooAKKKKACiiigAooooAK474j/8AIT8Lf9hNv/SeWuxrjviP/wAhPwt/2E2/9J5a1ofGvn+RnV+EfRRRXWYnJeIfhr4A8Qam2qa14Q0i+vmOXnltxvY+5HX8at634G8H63o9no+reGtMu9Psv+PW3kgGyH/dHauiopcqHdnMD4feCRpV1pK+F9MSwu547i4tlh2xySJjYxA7jAxWna6DpFjrV9r1jptrDq17EsVxchcNKqD5FY+gwK1KKLILnnnwM+Hcnw+0XVUvrmzutU1bUZL67ktIykS7j8qIDzgDP516HRRQlZWBu5i+Of8AkUdT/wCuB/mK9HX7o+leceOf+RR1P/rgf5ivR1+6PpWWI+GPz/Qql8TFooorlNwooooAKKKKACvPvBP+s8Rf9h67/wDQhXoNee2gfw34jvtO1JQtvq1/Ld2N3/A7yYJhb+64xx/eHTnipqpyptI0otKomzoqKKK8w9Ep6PpOl6Pbvb6Tp9rYwvK0zpbxhFZ26sQO59arw+HfD8OnXenRaJp6WV5I0t1bi3Xy5nbqzLjBJ9TWpRTuxWRm6DoGh6Bava6Ho9hpkDnc8drAsasfU4HNQaR4U8MaPqMupaT4d0qxvZs+ZPb2qI7Z68gZrZoouwsjEv8Awh4Uv7+5v77w3pFzd3UZiuJ5bRGeVD1ViRkitmGOOGJIYUWONFCoqjAUDgAU6ii7CyCuf8ef8guw/wCwvY/+lCV0Fc7q5fxBrFtoGmr5hs7y3u7+4/5Z24jcOE93bA+XsDk1vhYt1U+xjiGlTfmehUUUV2nCFFFFABRRRQAUUUUAFFFFABRRRQBn+ItXs9D0mXUdQlMNumAX2FgpPAyBzjNc78MfE1vrVlLatqNne30TM8htLZ4o1Qn5fvDrV3x3q2lQadLo93BNqF1fRMkdhbKHmkU8bsdFA/vEgVjfBDT9L03wvJHaXHm3zTE3qOu2WJuioynlcD8+cU+V2uK6vY76iiikMKKKKACiiigAooooAKKKKACiiigAqK8tre8tZbW7gjuLeVSkkUihldT1BB4IqWigD5G+Pf7JyS3Enin4TSf2ffxt5zaV5hRCw5zA/wDA2einj0IrC+Cv7UWv+ENSHgv4yWV6fszeT/aEkRFzbn0mT+Mf7Q5+tfa1ecfGr4M+DPipphi1yzFvqaLi31O3UCeL0BP8a/7J/DFAHc6DrGl69pMGraLqFvqFjcLuingcOjD6ir1fnzdWHxn/AGV/EpurSQ6l4Ynl5Zdz2VyM9HXrFJjvx9SK+sfgZ8dfBfxVskhsLkadripmfS7lgJAccmM9JF9xz6gUAeq0Vm6/rul6FAs2pXSxGQkRRgFpJT6Ig5Y/QVhp4yvLgb7TwlrLxn7rTNDCSPXaz5/OqUXa5LnFbnXUVyL+LNaBGzwbfN9b23H/ALPTf+Et1z/oS7z/AMD7f/4qjkfdfehe0idhRXH/APCW65/0Jd5/4H2//wAVR/wluuf9CXef+B9v/wDFU+R9196D2kTsKK4//hLdc/6Eu8/8D7f/AOKo/wCEt1z/AKEu8/8AA+3/APiqOR9196D2kTsKK4//AIS3XP8AoS7z/wAD7f8A+KpU8Wa0T83gy9A9r23P/s9Lkfdfeg9pE6+iuRbxv9lYHVfDms2UR6zLGk6J7t5bEge+K6XTNQstTso73T7qK6t5B8skTblNDi0rjUk9izRRRUlBRRRQAUUUUAFFFFABRRRQAUUUUAFFFFABRRRQAUUUUAFFFFABRRRQAUUUUAFFFFABRRRQAUUUUAFFFFABXHfEf/kJ+Fv+wm3/AKTy12NcR8VLq1srvwxcXlxDbQrqjbpJXCqP9Hl6k8VtQ+Nf10M6vwlmisj/AISfw1/0MOk/+Bif40f8JP4a/wChh0n/AMDE/wAa7OV9jC6Neisj/hJ/DX/Qw6T/AOBif40f8JP4a/6GHSf/AAMT/GjlfYLo16KyP+En8Nf9DDpP/gYn+NH/AAk/hr/oYdJ/8DE/xo5X2C6Neisj/hJ/DX/Qw6T/AOBif40f8JP4a/6GHSf/AAMT/GjlfYLoZ45/5FHU/wDrgf5ivR1+6PpXkvjHxF4fuPC+oQwa5pksrxbURLpCzEkYAGeTXrS/dH0rDEpqMb+f6GlJ6sWiiiuQ3CiiigAooooAKp6zpllq+nTafqECz28owynt6EHqCOoI6VcooTsBwNpPe+H9Si0LXZmmilO3TtRfgTjtFIe0o9f4hz1zW9WprOmWWsabNp+oQLNbyjDKeCPQg9iDyCOlcba3F7oGpRaFrkzTRSnbp2ovwJx2ik9JR+TDkc5FYV6KkuaPzR00a1vdkb1FFFcJ2BRRRQAUUVh6heX2qam/h/w/IEuFA+3X2MpZIew7NKR0Xt1PvpSpSqOyIqVFBXYaheX2q6k/h/w/IEnXH26+xuSyU9h2MpHRe3U+/W6BpFjoemR6fp8WyJMsxY5aRj952PUsTyTRoGkWOh6ZHp+nxFIkyWZjl5GP3nY9WYnkmr9eilGC5Y7HnSk5vmkFFFFAgooooAKKKKACiiigAooqjrerafoti17qVwsEIOBnlnY9FUDlmPYDmhK4XLxOASTgVyGoeJbzV7iTTvCQjdUbZcarIu6CH1EY/wCWr/T5R3Paqs0WreLDv1RZtK0U4KaerbZ7kf8ATZh91f8AYH4ntW/awQ2ttHb20McMMahUjRQqqPQAdK5K+MjT92Gr/Bf5/kaQpOWr0RQ0LRbPSVkeNpbi7nwbm8nbdNOf9pvT0AwB2FRazocd5dJqVjcPp2rRgCO8hAywH8Ei9HT2P4EVsUV5ir1FPnT1Ol04uPLbQzdD8USLex6P4kt00/U34hkU/wCj3fvGx6H/AGD831611Fc/qmn2ep2T2V/bx3ED9Ucd+xHoR2I5FZEF9q/hMBLw3OsaEuAJwN91aD/bA/1qD+8PmHfPWvWoYqFbTaX5+n+RyzpuHmjt6KgsLy1v7OK8sriK4t5V3RyRsGVh7Gp66CAooooAKKKKACiiigAooooAKKKKACiiigCtqmn2Oq6fPp+pWcF5ZzoUmgmQOjqexB4NfJfxb/ZY0zRPEdv408Ea9PoOmW9wJry1V2823Gf+XZhzkn5Qp6EjntX17XKfEw7tM0uBuUm1a2Vx2IDFv5qKcbX1Jk7JmP4a0maALqmsSNdazNGBJLIdxhXAxEmegHc/xHJNbtBorjlJyd2YpWCiiipAKKKKACiiigAooooAKwL7PhfUf+Ei09WSzdwNVtU+46E488Ds69SR1XOe1b9VNahW40e+gkAKyW0ikH0KmtaM3GS7Cfc7BWDKGUggjII70tYfw+uZLzwLoV1KSXksIWYnudgrcrpas7HQndBRRRSGFFFFABRRRQAUUUUAFFFFABRRRQAVDe3VtY2kt5eXEVtbQoXlllcKiKOpJPAFY3jTxdpPhW0je+aWe8uDts7C2XzLm6f+7Gnf3JwB3Irim0XWPF13HqXjry1tI332ugQvut4v7rTt/wAtpB6fcU9AetAHceEfFvh3xZbzT6BqkV4IH2SqAVdPQlWAIBHIOMEcjNblec+IvC9vqV3Dq2n3U2j65bKFt9RtQA4Uf8s5F6SR/wCw34YPNWvC/jq4i1KHw542todK1iT5ba6jJ+xagf8Apkx+6/rG3PpuoA7yiiigAooooAKKKKACiiigAooooAKKKKACiiigAqG7tbW7QR3VvDOgOQsqBgD64NTUUAUP7F0b/oE2H/gMn+FH9i6N/wBAmw/8Bk/wq/RTuxWRQ/sXRv8AoE2H/gMn+FH9i6N/0CbD/wABk/wq/RRdhZFD+xdG/wCgTYf+Ayf4Uf2Lo3/QJsP/AAGT/Cr9FF2FkUP7F0b/AKBNh/4DJ/hR/Yujf9Amw/8AAZP8Kv0UczCyKA0XR1YMuk2AIOQRbpx+lX6KKVx2CiiigAooooAKKKKACiiigAqnrOmWWsabNp+oQia3lGGU8EHsQexB5BHQ1cooTsBxsPhnxVbxiCHxZbSRJ8sbXGmb5NvbcwkG4474Gad/wj/i7/oaNN/8FB/+O12FFPTsvuQ7y7v7zyL4wr8SfDXw71XV/DmoQ6xqsUYFvbWujEuSWALf6w8AZPQ9K+adA/ax8aWOpjTvGmk29p5fyzPBYETK3vG7qP1Ffedcx42+H/grxpbtD4o8NabqeRgSSwjzV+jj5h+BqbRvey+5D55W3Z5V4B+KHh3x9CkGkfFXSLW6mG021zpX2a5XP93fKQT6EbhmvbPD+k2OiaXHYafHtiXLFidzSMers38THqTXy/8AEP8AYt8OXqyXXgbxBdaTPnKW17++h+gYfOP1rzc6T+1J8D5d9jJqWraPCOkLG/tSo9UPzJ+Qqr6WSJd3uz74or5A+H37aVoWWy+IHhaa0mVtr3WnHco9d0TnI/An6V9F+Afir8PvHUUZ8M+KdPvJnAP2ZpPLnHsY2w2fwpAdpRRRQAUUUUAFFFFABRTLiaK3heaeRIokUs7uwCqB1JJ6VxtzrWqeJnNv4dd7DSuRJqrJ88w9LdT2/wBs8egPWk2ormk7IOtkafiHxPHZ3f8AZOlW51PWGGRbo2EhB6NK/RF/U9hWfpehyfbl1jXLoalq2PkcriK2HdYU/h/3vvHuavaNpVjo9p9msYdik7pHYlnlbuzseWY+pq9Xl4jGOfuw0X4s6adG2stwooorhNwooooAKBRRQBz9xo15pd5JqnhaSO3mkbdcWEhxbXJzycD/AFb/AO0OvcGtzw54js9ZMlv5ctnqMA/0iyuBiWP39GX0YZBqSszXdFtNWEckjS215Bzb3kDbZoT7HuPVTkHuK9HD45r3auq79f8AgnNUodYHU0Vx+n+JLzSbiPT/ABb5cYdtlvqka7beY9lcf8snPoflPY9q7AcjNel0utjnuFFFFAwooooAKKKKACiiigAooooAK5T4lf8AHpov/YYt/wD2aurrlPiV/wAemi/9hi3/APZqaIn8LJaKKK4TIKKK4H41fEN/AWj6emnaW2r69rF2LPS7ENtEkh6lj2UZH500rgjvqK8T8VeNPjD4T+HfifWvFGheHLa4sbFLixu7GZpYvMMiqYpEY5yAxORxxXaX/wATfCHhvw9od54y8RWGlXWpWUVwsb7iWLKCSFUEhcnr0p8rHZncUVyPiD4meAdA0bT9Z1fxVp9tp+pKWsp9zOs4HUrtBJxkU9/iP4FTwra+KW8T2A0S6uBaw3uW8tpTnCHjKng9cY70rMLM6uisrwr4i0TxVo0es+HtRh1HT5HZEuIgdrMpww5APBFatIQVBqH/AB4XP/XF/wD0E1PUGof8eFz/ANcX/wDQTVQ+JCexa+GH/JOfDv8A2DoP/QBXR1znww/5Jz4d/wCwdB/6AK6Ou2fxM3jsgoooqSgooooAKKKKACiiigAooqnreq6bommT6nq17BZWcC7pJpnCqo/x9upoAuVwXiTx1cXWoz+HfA9vDqeqRHZdXspP2LTz3EjD78npGvPqVrJvdQ8RePyY4De+G/CrcFuYr/UFz27wREd/vkH+Gui0jTdP0jTotO0uzhs7SEYjhiXao/xPqepoAy/DXhi20m6m1S7up9W1y5GLnU7rBlcf3EA4jjHZF4+p5rfoooAKp6zpen6zpsum6rZw3lpKPnilXIOOh9iOoI5FXKKAOTsdU8QeAAI75rzxF4VQACfBlv8AT1/2wOZ4gO4+cDqG616Po+p6frGmwalpV5Be2c67opoXDKw9iKxK5S78Paloeoza54FnhsrqVt93pcxIsr455JA/1Uh/56KOf4gaAPUaK5nwX4003xK01kYptN1m1H+l6Xd4WeHnG4dnQ9nXIP6V01ABRRRQAUUUUAFFFFABRRRQAUUUUAFFFFABRRRQAUUUUAFFFFABRRRQAUUUUAFFFFABRRRQAUUUUAFFFFABRRRQAUUUUAFFFFABRRRQBwnxA+EHw58dRSDxF4VsJrhwf9KhTyZwfXemCfxzXzr4+/YuMM39ofDvxZJbyodyW2o5yp7bZUGR+I/GvsWigD4HTxT+1D8EXaPWbbUNU0iHgtdx/brbaO4lX5lH1I+len/Dz9s/wnqIitvGuh3miXB4e4tf38GfXH3wPwNfVDKrKVZQykYIIyDXl/xE+APws8cK8mpeGYLO8bJ+16f/AKPLn1O3hvxBoA6/wb448IeMrX7R4X8Rabqq4yVt5wXUf7S/eH4iuir4o8Y/sdeKtCvzqvw08YeY8Z3RRXLm2uEPoJU4P4hawLX4x/tHfB51s/G2j3Wo2EbYDarblwR6LcJ1/EmgD72rK8R6/p+h26Pdu7zynbb20K75p2/uoo5P16Dua8W+GP7RsPxF0SZ9L8NXGkXkMkcE93eyB7G3dwcFpFwT0OFIGfWvUdE0OGxuJNQuLiTUNUnH729mwWI/uoBwieij9ayr1o0Ypy67DhFzdkVDpmpeIplu/FG2O0Vt0GkRtujX0Mx/5aN7fdHv1roQAoCqAABgAdqWivGrVp1XeR2QgoLQKKKKyLCiivEP2soPFkml+HrjS4dduvDMF4z+ILfRJTHePFgbSpHO0fNnHtmrpw55ctxSdlc9uYhfvEL9TigMpJAYEjqAelfLGs6v4Ab4LeHJvDd7rfiXTW8YWqeXqmoSLc2UzH7jEc4GMhTwc9ap+Jde8VeH7z4/ar4VkEd3bahamS4MxR7aLYd0kfqwOBj3NbLDt9f6uR7Q+tKK4f4Hap4t1n4b6XqPjK0tIL+aCNont5/N8+IxqVlc9nbJyK7iueSs7Fp3QUUUUhkd1BBdW8ltcwxzQyKVeORQysD2IPWsCGPV/Ch3aYs2q6KDlrFm3XFsP+mLH76j+4efQ9q6Oit6GInRem3YznSU/Us6Lq2n6zYre6bdJcQklSRwUYdVYHlWHcHmrtcXreki2nm1/Sb6LSNQRC00z/8AHvOo7TL0I/2uGHr2r5/+L37WHiDwV4rj0e08G2E8RtY5jJcTyDzC2fmQgcxnGQcDNezSqRqx54HG04vlkfWlFfDqftv+JP4/Amkn6Xkg/pU6ftwa1/H4B08/S/f/AOJqwPtuivipP24dQ/j+H9qfpqLf/EVMn7cUv8fw8Q/TU/8A7XQB9n0V8bp+3HF/H8OXP01Uf/GqlX9uOx/i+HFx+Grr/wDGqAPsOivj9f24tM/i+Hd4Ppqq/wDxupF/bh0X+L4fagPpqSH/ANkoA+vK5T4lf8emif8AYZt/5NXzkv7cHh/+LwDqg+l9Gf8A2Wrvh79p7RPif4x8OeErPwtqGnTz6nHKJpbhHUBFYkYAzTRM/hZ9C0UUVwmIV5F+0d4c8TXk3hLxn4T07+1dQ8Lan9rewBw88TY3bfUjb0969do6GmnZjTseB/E3xT4m+I3wi8XaVZfDbxJpSf2ehja+jAknm81P3ccY5bAyc+1cZ498JeK9K8e6f4kl0rxPc6beeGrSxD6NZ29zNbSJGFeJ0mRgoJycjHXr1r6vyc9aKpTt0HzHy1faX4t8LeAfA2meH/DPidNFH2tr1v7OtrrVbVnfKJh1KRq3XgdPpWJYeB/FTfAJdFvfDGqm6fx/HcyWk9uDIbc/edlUbdvPJA2+nFfYGTS8+9HOPmILS1tbO3W3s7eG2gT7scSBFH0A4qaiioICoL/mxuB/0xf/ANBNT1BqP/IPuf8Ari//AKCaqPxIT2Pmvw9+2L4b8OaJZ+H5vBurTyadCtq8qXUYDlBtJAI6HFaA/be8Kd/BGtD/ALeYq9h+H3w0+Ht/4E0O8vfBegz3E1hFJLLJZIWdioJJOOSTW03wj+GDfe8B+Hj/ANuKf4V2z+JnRHZHgy/tu+EP4vBeuD/tvF/jUi/tt+Cz97wfro/7axf417i3wd+FjdfAPh7/AMAk/wAKjb4L/CdvvfD/AMP/APgGtSM8WX9tjwN/F4U18f8AAov8aev7a3gLv4Y8QD/v1/8AFV7E3wR+Ebdfh74f/wDAQVGfgX8Hz1+Hfh//AMBhQB5Kv7anw9/i8O+IR/wGP/4qnr+2l8OT10HxCP8AtnH/APFV6qfgR8Hj/wA070H/AMB//r0xvgH8G26/D3RPwjI/rQB5iv7aHw176N4iH/bGP/4upF/bO+GB+9pfiIf9u8f/AMXXor/s9/Blv+af6UPpvH/s1Qv+zp8F2/5kPTx9HkH/ALNQBwi/tl/Cs9bDxEP+3VP/AIupPht8QvC/xm+JGqahGupXVlpsEMukWt/GEhiccTOIwSGkDFDuOSAwxiuxf9mz4Kt/zI9qPpPKP/Zqq6z4B8M/C2LQNX8G6OmnWMGreVqKK7NmK6CwliWJOFcRH04NAHoFFFFABRRTJpYoYXmmkSKJFLO7sFVQOpJPQUAPorK8NeI9B8S2k154f1a01S3hlMMkttIHVXABK5HfkVq0AFFFFAHFfGK0tF8JXGtpHMmt2KgaTdWrbLiO4dgsaqw6hmIBU5BGcivU9NS6j062jvpVmulhQTyKuA7gDcQO2TmvOdehl1r4heFtAjYfZrWSTWb4eqw/LCv4yuD/AMAr06gAooooAKKKKACiiigAooooAKKKKACiiigAooooAKKKKACiiigAooooAKKKKACiiigAooooAKKKKACiiigAooooAKKKKACiiigAooooAKKKKACiiigAqK7t7e7t3t7qCKeFxh45UDKw9CDwalooAw9B8H+FtAtL600Xw/p1hbahIZbuGCBVSZiMZZenQVjXOj6p4XJn0FJdS0gEs+mM2ZYB6wMeo/6Zn8D2rtaKUoxkuWSug2d0c5o+qWOr2f2rT5xLGGKuMENGw6qynlWHoau1S8QeGFurw6vo1wNM1gDBmVcx3A7LMn8Y9+o7GqOla4z3w0jWbX+zNWx8sLNmO4A6tC/8Y9uo7ivKxGDdP3oar8V/Xc6ada+ktzboooriNwriviT4d8bavdafqHgnxuPDl1aq6Swz2YuLe5VsYLKejLjgj1rtaKcZOLuJq54QP2fpI/BkWlL4nFxq0/iWHX9Tvprbas8iE5REU/KOeK3Z/g6bx/ifHe60ot/HBQx+VCd9ptXAzk4bnB7cV61RWnt59yeRHI/CTw74i8KeC7XQvEniCDW7i0AignhtfJVIVUKiY7kAdT6111FFZt3dykrBRRRSGFZuu61Z6QkazeZNdTkrbWkC7pp29FX+ZPA7mqN1rV3qV5LpXheGO7uYyVuL2TP2a0PoSPvv/sD8SK2/Dfhuz0eSS7eSS+1Ocfv76fBkf/ZHZF9FHFejh8C371XRduv/AADnqV+kTLsPDd7rE8eoeLPLMaNvt9KjbdDH6GU/8tX/APHR2B610lzpmm3Lh7nT7SZwAu6SFWOPTkVbor0lZJJbHOZraBoLfe0XTT9bVP8ACmHw14cb72gaUfrZx/4Vq0UAY7eFfC7fe8N6OfrYx/8AxNRt4O8It97wtoh+thF/8TW5RQBz7eCPBjfe8JaCfrp8X/xNRnwD4Gbr4N8Pn/uHRf8AxNdJRQBzDfDvwC33vBfh4/8AcOi/+JqNvhr8PW+94H8On/uHRf8AxNdXRQByDfC/4cN97wL4cP8A3Dov8K5/xd4D8FaDPoWpaL4U0bTr1dXgVZ7azSNwCGyAQM816fXJ/Ev/AI9NE/7DNv8AyamtyZ/CyavNf2jvGmreCfh19r0Dy11jUL2HT7OSRcrE8h5fHsBx716VXFfGnwHH8RfAs/h/7abC7WZLmyugu7yZkOVJHp1Brija+pktzjpPAvjHwj4Y1rWbr4n67rX/ABI7w31reAFDN5LFXhI5j2t+lc38B/jFcW/hnwH4c8Q+G9eSLVl+xW2vXThormcE8DJ3EdBuNddp/h341appl9pXi7xD4XNjJpdxaBbK3fzLqR4iiPIzD5QCQTt61Qg+E3iCPwh8KtIN5p5n8Iaglzfne22RRniPjk898VenUq6L/jL4z3nhPWZU1j4d+IINCivVs21dnjEZLNtDhM5Kk9KTxl8bDofjDXPDGm+Btb1+60e2ju5pLNl2CFk3M7E/dwMcc5rzrxd+z7471jVtYZtS8M38d3qv2+HUr1Zjfqm8MIQ3KooHYV6nY/D3WIPiL478RNdWn2XxDosNhaoGO9JEj2kvxgDPpmi0QtExvD37QOm6vq3hxW8H6/Y6L4huBaWWrXKqInuD1QAEkgHjd+NcV4b+Kus+DfF3xRlufDXiLxLp1lrrSTTwSgw6fAMjHzHj/dHpXVW/wf8AEUfw8+GXh1r3TvtPhXWUvr1t7bJEDMSE45PPfFZ2s/Cf4ppd+O7fw74g8O22leMdQkkuUuInaWGFuNysBjcQWBH60/dDQ63xJ8bNNtrnSLHwr4d1PxXf6npq6otvZsqeTbN0Zy3frx7VT1H4/aLF4Z8K65p3h3VtT/4SOee1htINvnxXEWAYyvcliBkH3rm/GH7P97Hqehal4VXw7qh0/RotKuLTxBAzxSeX92VSvIbrW5a/CfXI3+G8oTw7Yt4b1O4vdQg06JoYGEmMCJcHJ45zilaIWieteGr+71TQbPUL/SrjSbqeIPLZTsDJA391iOCas6j/AMg+5/64v/6CanFQaj/yD7n/AK4v/wCgmph8SM3sWvhd/wAk48O/9g2D/wBAFdJXN/C7/knHh3/sGwf+gCukrtn8TOiOyCiiipGFFFFABRRRQAUUUUAFY/jXRI/EnhHVdCkbaL61eFX/ALjEfK31BwfwrYooA888A6tJrXg7TNQuCPtRh8q6A/hnjJSQf99q1btcr4fjj0P4h+KPDSgpFcSJrVop6bZsrKB9JUJP++K6qgAqlrmj6Zr+mS6RrFnHe2NwVE0EmdsgDAgHHUZA471drL8V6FZ+JfD93oeoS3cVtdKFke1mMUoAIPyuOR0oA8h/Y6hit/CvjCCCNIoo/FV2iIgwFACgADsK9yrz34a/B/wh8PdZm1Xw7JrCzTRvHIlzftLG24glip43fKOetehUAFFFYvjnWf8AhH/CGqawqGSW3t2MEY6ySn5Y1HuWKigBnwphTVPEfinxdv8AMSe7XS7M9hBbZDEfWVpP++RXodYXw/0NfDfgvSdEUfPa2yrKf70pGXb8WLH8a3aACiiigAooooAKKKKACiiigAooooAKKKKACiiigAooooAKKKKACiiigAooooAKKKKACiiigAooooAKKKKACiiigAooooAKKKKACiiigAooooAKKKKACiiigAooooAKoa7o+na3Ymz1K3WaPO5Gzh427MrDlWHqKv0U07A1c4aWfVvCreXrLS6lo2cJqSpmW3HpOo6j/poB9QOtdBBLFPAk8EiSxSKGR0YFWB6EEda2GAZSrAEHgg965C+8N3uizSX/AIT2eU7b7jSZG2wyepiP/LJ/b7p9B1rir4ONT3oaP8P+B+RpCq46PVG1RWboWtWerxyCDzIbmAhbm1mXZNA3oy/yPQ9jWlXlSjKD5ZKzOtNNXQUUUVIwoorI1rXYrG5j0+1t5NR1WYZisoCN2P77noif7R/DNXTpyqS5Yq7JlJRV2X9SvrPTbKS8v7mO3t4x80jnAHt7n2rGgtNX8WfNcLc6NoR/5Z/cu7se/eJD6fePtV7RvDE0l7FrHiaeO/1BOYIEB+zWn+4p+83+2efTFdTXr0MLCjq9ZfgvT/M5J1JT8kV9NsbPTbKKysLaK2tohhI41woFWKKK6SAooooAKKKKACiiigAooooAKKKKACuT+Jf/AB6aJ/2Gbf8Ak1dZXKfE/EejWF452xWuqW0sjHoq79pJ9vmpx3In8LJaKO9FcJkFFFFABRRRQAUUUUAFFFFABVfUf+Qfc/8AXF//AEE1Yqjr9wlroV/cyHCxW0jH8FNVD4kJ7Gh8Lv8AknHh3/sGwf8AoArpKxfAlnJp/gvRbGUESQWMKMD2IQZrartl8TOiOyCiiipGFFFFABRRRQAUUUUAFFFFAHnvxVRtL8R+FvFSRjy4rttLvW9IbnAVj7CVY/8Avo1uVZ+IGht4l8FatoccgimurZlgk/55yjmNvwYKfwrnPBWtDXPCemarKyJPcW6mdNw+SUfLIv4MGFAG1RTfMj/56J/30KPMj/56J/30KAHUU3zI/wDnon/fQo8yP/non/fQoAdXLeKI5NY8a+FfDUY3Qm6bVb3uPKt8FAfrK0f/AHya6fzI/wDnon/fQrE+GUS6t4z8U+KfMEkSSpo9kR0CQfNKR9ZXYf8AAKAPQ6KKKACiiigAooooAKKKKACiiigAooooAKKKKACiiigAooooAKKKKACiiigAooooAKKKKACiiigAooooAKKKKACiiigAooooAKKKKACiiigAooooAKKKKACiiigAooooAKKKKACiiigDD8SeG7TWJI7yOWSw1OAfuL6DiRf9luzp6qePpWNaa1d6fex6T4ohjtLqQhbe7jz9muz6KT9x/wDYb8Ca7Wq+pWNnqVlJZX9tFc28ow8ci5BrOrShVVp/eOMnB3iUaRiFUsxAAGST0Arnri11rwmC1ul3rmiDAES/PeWo9s/61Pr8w96fbaJqfiZluPEaPY6Xw0elK/zy+9ww6/7g49c1wRy+fNZvTv8A8A3eIVttRi6lqXiOZrXwwRFZg7ZtXkTMY55WFT/rG/2vuj36V0nhzQdP0K2aKzR3llO6e5mbfNO3952PJ/kO1aMMUUMKQwxpHGgCoiLhVA6AAdKfXowhGnHlgtDnbcneQUUUVQBRRRQAUUUUAFFFFABRRRQAUUUUAFFFFABVTWNPtdW0u5029jElvcxmORfY/wBat0U07aged6bqE+k3SeH/ABFIIr1Pktbp+I75B0ZT034+8vXPI4rerd1LT7HUrRrTULSC6gbrHKgZT+Brmn+H2iBj9ku9bsU/5522pzKg+g3HFRKlCTvexi4SWxY5o5qt/wAK/wBP/wCg74m/8G0v+NH/AAr/AE//AKD3if8A8G0v+NT7CP8AN+AuWXYs80c1W/4V/p//AEHvE/8A4Npf8aP+Ff6f/wBB7xP/AODaX/Gj2Ef5vwDll2LPNHNVv+Ff6f8A9B7xP/4Npf8AGj/hX+n/APQe8T/+DaX/ABo9hH+b8A5ZdizzRzVb/hX+n/8AQe8T/wDg2l/xo/4V/p//AEHvE/8A4Npf8aPYR/m/AOWXYsOyohd2CqBkknAArBgU+NL+K0swW0CCUSXl2OEumU5EMf8AeXIBZunGOcmtq28AeHkkEl4t/qhHRb+9knT/AL5Y7T+IrqYY44YlihjSONRhVUYCj0A7VcIRg7p3Y1Tb3HUUUUzYKKKKACiiigAooooAKKKKACiiigArlrr4c+A7q5lubjwfoks0zmSR2s0JdicknjqTXU0UAcl/wrP4e/8AQl6F/wCASf4Uf8Kz+Hv/AEJehf8AgEn+FdbRQByX/Cs/h7/0Jehf+ASf4Uf8Kz+Hv/Ql6F/4BJ/hXW0UAcl/wrP4e/8AQl6F/wCASf4V0OjaXpui6dHp2k2NtY2cWfLgt4wiLk5OAOOSSa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B//Z">
            <a:extLst>
              <a:ext uri="{FF2B5EF4-FFF2-40B4-BE49-F238E27FC236}">
                <a16:creationId xmlns:a16="http://schemas.microsoft.com/office/drawing/2014/main" id="{1876E805-113B-4E09-A212-5AB6C2EF17E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AutoShape 10" descr="data:image/jpg;base64,%20/9j/4AAQSkZJRgABAQEAYABgAAD/2wBDAAUDBAQEAwUEBAQFBQUGBwwIBwcHBw8LCwkMEQ8SEhEPERETFhwXExQaFRERGCEYGh0dHx8fExciJCIeJBweHx7/2wBDAQUFBQcGBw4ICA4eFBEUHh4eHh4eHh4eHh4eHh4eHh4eHh4eHh4eHh4eHh4eHh4eHh4eHh4eHh4eHh4eHh4eHh7/wAARCAFKA0Q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82+MXxUh+HuqaLZf2RLqQvH86/dJNosbMOkbTtxzhpFGPrzQB6TRWbruv6HoVil9rWr2OnWrkKkt1OsasT0AJPNV9U8XeFtLs7S81LxFpVpbXoBtZZrtEWYHuhJ+YfSgDaorJ13xN4c0FYG1rXdN00XB/c/arlI/M/3dx5rB8WfFDwd4X8U6N4e1jVra3n1aKSaKVpkWKJFXIZyWGA3RSAckGgDtKKRSGUMpBBGQR3paACiiigAooooAKKKKACiiigAorn/AIj+Iz4Q8B614nFp9rOmWj3Ag37fM2jpnnFZfgzxB4vvLc6l4u0PRNE0o2q3CXEOqGUjIBwwZFCjB65oA7SiueTxdoup+H9T1LwzrGkau1jC7ny75PKVwpIEjjOwcdT0HNY+meN7ufxfoWh3drYRxaj4ffVp54bnzUjZWjG1H6MmHJ3ewoA7mis4a9opsbG+GrWJtb90js5vPXZcO33VQ5wxPYDrULeJ/Da6tHpDa9pg1GSVoUtTdJ5rSKASoXOcgEHHvQBr0VkWHijw3f6zNo1jr+mXOpQ5821iukaVMdcqDnirup6lp2lxRy6lfW1nHJIIkeeUIGc5IUE9+Dx7UAWqK5z/AITzwT/Zf9qf8JdoX2HzvI+0fb4/L8z+5uzjPtWlrOvaJo2mDU9X1ewsLE4xcXFwscZz0wxODmgDRorOt9d0W40Q65b6vYS6WELm8S4UwhR1O/OMfjXL6F8Q7HXfiWPDei3Gnajph0X+0Rf2twJMuJvLKfLxjHPrQB3NFZGl+KPDeq6pPpema/pl7fW+fOt4LpHkTHXKg5rXoAKKKKACiiigAoorz7xp408T2PxDtPBvhbw7p+qXU2ltqUkt5fm3VEEvl7RhGyc0Aeg0Vzcni3TdF02xPjTVNF0HUrhAXt5L9dobPRWbaWHvgVJqWvXNv4r0rS7dNNls720nuGke9Cz/ACBSvlxYzIp3csDxx60AdBRXHfDLxvB4o8G6Dq+pNZ6ff6wsxgtBNy5jdgwQHlsBcn0rem8QaFCt60usWEa2EqxXha4UC3dsbVfn5SdwwD6igDTorDPjDwmNJn1c+JNI/s+CYwS3X2xPKSQdULZxu9utaelajYarYRX+mXtve2kozHNBIHRh7EcGgCzRXnWreP8AXb3xdqXhvwJ4Xh12XR9q6pd3V8LWCGVl3CFTtYu+0gnjAyMmuh/4TDTdM0Gxv/GNxY+F7q5X57W+vYwUfPKhs4b6j1oA6SiqQ1bSy9ig1G0LagCbMCZT9owu47OfmwvPHamSa5o0a6g0mrWSLppAvi06gWxKhh5nPy8EHnsaANCisiw8T+G7/RZdbs9e0240yIkSXcdyhhQjrls4FT6Drmja/ZG90PVbLUrYMVMtrOsihvQlT1oA0KKKKACiiigAooooAKKKhv5/stjcXW3d5MTSbc9cDOKAJqK88+BPxLHxL8Ly6lc6V/Y9/A0ZlszN5mIpY1kikBwMhkb06gjtVT4b/FmDxp8QPE3h6HSvsunaPGJbfUXmBW7QSPG7hcfKoeN8HPOKAPTqKxtF8U+HNdluYdD17S9Tnth+9jtrpJCn+9tJwPes/QPGNjJ4X0/VfEmoaHpc94krqsepJLCwQnJSQ4DYABOOlAHU0VxnjH4neDvDPgSTxnNq9rfaUHEcT2c8cnnuWxtQ7gCRySM9Aa1v+Ey8Jjw/H4gbxHpSaVI21LxrtBEzdMBs4Jz2oA3aKzT4g0IabbakdZ08WV0wW3uPtCeXKSCQFbOCcA/kabo3iTw/rVhNqGka3p1/aQErNPb3KOkZHUMQcD8aANSisfQ/FPhrXRc/2Lr+maj9l/1/2a6STyv97B4pmneL/Cmo6lDpun+JNIur2aITRW8N5G8joRncFByRigDborJvfE/hyx1qHRLzXtMt9Tnx5VpLdIsz56YQnJpL7xR4bsdZh0W91/TLbUpseXaS3SLK+emFJzzQBr0VmeKJ9cttIeXw7p9nqGoBl2QXVyYIyM8kuFbHHtXnngH4ieMtfvdSm1bwzoOkaPpGpTafqV42sEmJ4lBZlBjAK/MvJI70AerUVlaH4l8Pa5ZzXmja5p2oW0BImltrlJFjOM/MQeOPWuX8c/ErSNM+Hes+KfC9/pevPpjQo8cN0HQM8qJhihOOGJ/CgDvaKpQarps2pyaVHfWzajFCs8tqsoMsaNwGK9QCehq7QAUUUUAFFFFABRRRQAUVwXxf8W+LPBmiXviDSPDmm6rpOn2T3V28+oNBKNmSVVQjA8D1FO8O+N7230VdW+ISeHvC9tcpG9k39rB/NDLk53qmCMjpnrQB3dFZV/4k8P6fosetX2uadbaZKAY7uS5RYnB6YYnBz7Vi3njOP/hNfC2j6b9kvdP122u7gXkcu4AQqhXaRwQdx/KgDr6Kp6Rqmm6vaG70q/tr63DtH5tvKHTcpwwyOMg8GvPPAvjvxx4uvZ7qw8JaTHoUGqz2ElzJqrCfbDIUZxH5eM8ZA3UAen0Vj2/inw1casukwa/pcuoO0irapdIZS0f+sG3Ocrg59MUuj+KPDes309hpOvaZf3dv/robe6SR4+3IByKANeisOXxj4Tj1K402TxNo6XtsVE9ubyMSRliAAy5yMkgfUitBNU02S4vbdL+2aaxCm7jEoLQAruG8fw5HPPagC5RWRfeJ/DljokOt3mvabb6ZOqtDdyXKLFIG5BVicHPtUj+INBTTrbUm1nT1srpgtvcG5QRysQSArZwTgH8jQBp0Vm6F4g0PXrKS90TWLDUraNikktrcLIiMOoJU8GqVp428H3cM81r4p0WeO3lSGZo72NhHI7bVViDwSxwPU0Ab9FVZtS0+HU4NMlvbdL64RpIbdpAJJFXG5lXqQMjJ96tUAFFFFABRRRQAUUUUAFFFFABRRRQAV4FNovi74heKviDqlha6E2jXkTeGbf8AtUTK/kxKfNeMKPutK7HPcoPSvfaAABwAKAPmNtUju/Afg7VfEuvyaD4y8MC803fe6W95aXMsWIpEkUL1dVQqwIY5OM1a8Y62E0/w347nSHw94vPh3YPD15o8lzaXsbPv+zphcxyFlGMHcAwyMV9I7F/ur1z070FVJGQDjpx0oA+ZvF51KL4rajrHirWovCNpq+hWK2IvNDXUIlHlnz7YORiNhISSv8WQe1XbnT9E8FyfCDVLy8uNT8O6dBfWkmpz6c+797HmEPHtLIMgqoI44r6MZVYYZQR7ilIDDBAI96AERlZFZfukZHHaloooAKKKKACiiigAooooAKKKKAOC/aHjkm+B/jGKKN5HbSpgqopLE47AVzWuaRc+C/g5fa3ZTa14mnOm24NhrE73tvGCU3P5OMnYCWwOSFxXsRAIwRkUUAfLnhiWXUPF3j+6t9ZGv283gV41vbbRTYQyOGk+RVAxIRnGeTzjtXV+E7C6uPEHge3WCRWf4cyQZZCArnyAAfQ+1e7hVAwFAGMdKAo44HHA4oA+WtI8QWV74F+E/g2C11M61ofiCxj1SBrCVRZmMuh8xiu0ZJGME5HNeheDPDaz6n8W9SsdNiTxBc6tPDZXkkeJARaR+VtYjgBmPI7k17HtXJ+UcnPSlAAzgAZ60AfLHwk0mwvJPAml6l42a11jRLmOU6MnhnyLqK4VGWRJJgMlTlsuThuDXrH7Q+l2+s6b4P0+8she2kviywFxCyFlZPnzuH931zxXp21dxbaMnqcc0EA4yM80AeIWHg/QJfjv8QWl8N2TQHw9ZrGGtB5eXWUPtGNuSFUHHPArkPCVxb6Tpnwi8ReOrO4m8O2nh65tRLNaPNHZ3paMRPIoBK/uldQxHH419P4Gc4GaQqpXaVG30xxQB8uapp32rwv4p8Rafot4fAV34x0/UDYpaOn2iyjCi6lWDAby2kAbGPmCk45rXBsPEnxN8Xaj8NtPkt/t/gWe2tL6Kza2iubsOQpQsBkrlRux274r6N7Y7UgVVxhQPoKAPmT4RabpOoax4Ghk8bFNS0Mhk0eLwz9kuIXERWSKaQDheuSeGIB5r6cpAqhiwUAnqcUtABRRRQAUUUUAFePeM/Dr+IP2jdPjbUdb0yKPwrIftGm3LQMW+1D5S4HI74r2GjAznAz60AfPfxf1CbS/Edz4Xn1CPS7aLQUFvqV5oh1S81hmMgaAORjK4GR1JfPSovhpb3n9qfBhpoLgNF4NvUkLo2UbZAAGz0PHQ19EEAkEgEjp7UBV4+UcdOOlAHzL4YlXw34S+DfizWIbqDStLn1GC+mFu7m2MwkWNnVQSFJGM47iqOrvH4l8G/GW9t7C+ax1PX9OaFZrV4nmixApYKQGwQDz6V9UbV27dox6Y4oKqc/KOevFAHgvx20RtE8XeB76wmg8O+GLBLqKW5j0hby3tbhkQRM8OMDKqyiQj5fbNdd+z5penWGi63eaX4mfX4dR1R7l5V042cKSFFDCKPGNpwCSOCc+9emkAjBAI9KAABgAAUAeH+FPEWnfC7x7450zxp9qsLfWdYbV9Mv/ALLJLDcxyRopTcinDqykbTz0xVb4l+NUv/E+iPF5Ph3Sr/SJJ4dY1Dw493cTt5m37IsbD5CR8+Dy2RgV7wyqw+ZQfqKCAcZAODkZoA+Z/CFwfDXw9+DHibW4b2HTdIur6K+l+yOWthLHNHGzoASi5wOnGRUkT6B4os/ivf6tPq+kaPf69p81tff2dIWQpBCY5miKktFuQE7hgg84r6UKqV2lQR6Yo2jngc9eOtAHy74p1HxN4q+GlrdNHB/ZejeLoDc6tp+jMYb60RM/ajaN99VdgGHIO3I4FeifAmx0ybxV4i8Raf42XxHLeW9tDcrb6P8AYbdShfY3A2u+CQSOQMZ7V6+AAMAAD0pFVVGFUAegFAC0UUUAFFFFABRRRQAVT10E6HfgAkm2kwB/umrlFAHylbL4m8F+BPAGv+FtMupr7xT4UtfDlwiIf9Hu/LBtrhx22hpAc+1dTZ6PL4H8Z+L7HR9BOsR6V8P7OG3tGiJS9kR59yHj5ixySOp3e9fQe1cAYGB0pcDOcDPrQB80/C7UJNW+M/hy+i1qDVV/4R+9WcWWgGwgs2PkkQbsfOQQflPK496b4N0ODUtK+BtpqulfabeG41OWSKeElUYK5QsCMdcEZ719LhVHRQPwoCrx8o46cdKAPm3x5oL/APCEfGvTtM0ljCmqW13BbQ25Iz5MDytGoHU4Ynb71J8TNRtNV8V+BvF+ka0uleE47G7gTUm0Q3VvbXRKffiYDYWUMocjsRnmvo/A54HPWk2rt27Rt9McUAfOD+F9Hn8BeHbKHUz4p0vU/H0N3Of7NNrAAwO9EixgR7hnj5SWNa/iGKTwz49+KV5ofhaHUE/4RmxnXThbfuLqQGZTlFGGwoGQOSBiveNq4AwMDpx0pcDOcDPrQB80fDi8k1L4vi8g1yLW4T4Ru45JrPQjYW8T+ZERCDj94Rz15X8TU/hbwzp2n/Bz4RX1nokdtqKa/YTSzJb7ZgZGcSFmxuwQcHPGMV9HhVHRQPwo2rgDaMDpxQB4H4Vv/CGi+KvGOh+PNFkuvEWo+JXuLYSaW9w15AxT7M0TBSNqAeo24J4ri9V0eObU/HHhrxh4z/4R+41TXbmYQSeG/tM9zAzg28kNwAWbCBAMfcK4r6w2rkNtGR0OKCqkhioJHQ46UAQ6fGYbC3haV5ikSqZHGGfA6n3NeBRX+o6D8NPiZf2+gxalJ/wmdwfKu7Rp4kjZoAZzGBmRUGXwOu2voSkwADwOaAPmPwnHpus+IPiH/a2vXesaHe+F4IbnUtO0NrION8obykUHzCoP3gD6dqi1nVtQ1b4MeOtBtZLTW7Cwh09LLXbHSmtTdEzpmNo8YZ4woJK/L83QHNfUIVV+6oH0FG1du3aNvpjigDyX4Ewv4f17xH4V8Q2jt4rNwb6fV3Qn+2bdziOYN0XaPkMY4XHAwa9bpMDO7Az60tABRRRQAUUUUAFFFFAHCftCRyTfA7xpFDG8kjaNchURSSTsPAA61w3xG1y40uTwVp8z2Oh2c2jF21260Y37RyKsYFqi4wrODnnrtwK90IBGCMikKqQAVBA9qAPlzw5a6bH8FvCF9q3iCfw/qGm61qU+mXV3ozSW5YzSqUmgxiMMjfKOCP4at+NYPGXj7R/AUmm2f9gazd6TquYIYmhikUbP3eThoVmUcHhlD19MFVIwVBHpilwM5wM0Acl8INU0XVfh/pr6FpLaLbWyG1fTWiMbWcsfyvER3IPfv17159+z34SaTT9R1ubWfElo6eJdRcWKXrR2rgXD4zFjBB/WvbgAM4AGaAAOgAoA+fvDvhW4ufhb8V59C0oJ4lv9a1lLecR7Z3O5lUIx5GVJAxxz71mfCTTtL1TxL4Okh8dh9S0W2kEWkweGvsUkWYdjxTuBwAecN1IBFfSgAHQAUgVQSQoBPU460AfH93d+Frb4NaR4XvtDnXxvYeI7d9QZ9NcSwzG/XfO8xXG11IAO47twH09I1rxBY+D/AIlfE211q31FZvEFjayaSsFlJN9sK2zRMiFQQWDdQcYBzXr3jPwzpvizRf7J1Qzrb/aILgmFwrF4ZFkTnB43KM+1bZAJBwMjoaAPlV7TUtP0T4R6tqGqNoOkWvhc2xvZ9I+3RWt2yx4Dxn/VlkDAOfQjvWyfCujS+BfCthBqR8U6VqPj+K7nZtNNtBhw5dVixgRbhn+6cmvpAqpXaVBHpjijauAMDA6cdKAPnf4i+HtR/t/4u6b4R02WCa98Mae8cNmnliZw0ocLjA3mNdvHPSt60tvhx8S/Aep+GPCemrbXp0RYfPTTHtzaspBjjZ2QfOsiqdvJGCa9rwM5wM+tNeMNG6KSm4H5l4IJ7/WgDxP9njUNR8eeINQ+IWsW0kEllYQ+H7eOUcrNF814w+suBn0Svbqw/AvhfS/Bvhm30DSPPa2hZ3Mk775ZXdy7u7YGWLMSeK3KACiiigAooooAKKKKACjvRRQAUUUUAFFFFABRRRQAUUUUAFFFFABRRRQAUUUUAFFFFABRRRQAUUUUAFFFFABRRRQAUUUUAFFFFABRRRQAUUUUAFFFFABRRRQAUUUUAFFFFABRRWN4k8R2Oi+XAyyXd/PkW1lAN0sp9cfwr6scAU0gbNS7uLe0t3uLqeKCFBl5JGCqo9yelSRusiB0YMrDKsDkEetcRFot5rNwmoeLGiuCpDQaah3W1ufU5/1r/wC0eB2FJHY6p4YkM3h1TeaZnMmku+NnPJgY/d/3Dwe2KwWJoufJza/gVyTS5rHc0Vm+H9c07XbM3GnzFtjbJYnXbJC/dXU8qfrWlW7TW5NwooopAFFFFABRRRQAUUUUAFFFFABRRRQAUUUUAFFFNkdY42kkYKigszE4AA70AOrNvPEGhWUhjvNa063cdVluUUj8Ca42e5vvGTNcSXFxZ+HiSLe3iYxyXq/89JGHIQ9lGMjk+lXrHRdHsYhFZ6XZQIOgWFf54yaUpwg7PcydR9Dc/wCEs8Lf9DJo/wD4Gx/40f8ACWeFv+hk0f8A8DY/8azPsdn/AM+lv/36X/Cj7HZ/8+lv/wB+l/wqfbQ7MXPI0/8AhLPC3/QyaP8A+Bsf+NH/AAlnhb/oZNH/APA2P/Gsz7HZ/wDPpb/9+l/wo+x2f/Ppb/8Afpf8KPbQ7MOeRp/8JZ4W/wChk0f/AMDY/wDGj/hLPC3/AEMmj/8AgbH/AI1mfY7P/n0t/wDv0v8AhR9js/8An0t/+/S/4Ue2h2Yc8jT/AOEs8Lf9DJo//gbH/jR/wlnhb/oZNH/8DY/8azPsdn/z6W//AH6X/Cj7HZ/8+lv/AN+l/wAKPbQ7MOeR0Gn6vpWoNtsNTsrs4ziGdXP6GrtcJqHh7RL/AAbjTLcSKcpLGvlyIfVXXBB/GpdB1bUNE1W30fWrp76xu28uxv5MeYknUQynuSM7W74weetxlGfw7jVTXU7aiiig1CiiigAooooAKKKKACiiigAooooAKKKKACiiigAooooAKKKKACiiigAooooAKKKKACiiigAooooAKKKKACiiigAooooAKKKKACiiigAooooAKKKKACiiigAooooAKKKKACiiigAooooAKKKKACiiigAooooAKKKKACiiigAooooAKKKKACiiigAoJwM1R1vVtP0Wwe+1K5S3hXgE8lmPRVA5Zj2A5rlJ49X8V5OprNpWiH7tirbbi6X1mYfcX/YHPqe1TOcaceabsgSbdkWtS8TXeqXEmm+E1jlKMUuNTkGbeA9wn/PV/YcDue1S6FolppRlmVpbm+uMG5vJzummI9T2HoowB6VoWtvBa28dtbQxwwxqFSNFCqo9ABUleTiMXKr7q0j/AFudVOio6vcKKKK5DYxtZ0Jbq7XVNOuX03V41CpdxDO9Qc7JF6OvseR2IqxofihmvU0fxDbppuqNkRENmC6A7xOe/wDsH5h79a0aq6rp9lqlk9lqFulxA/VWHQ9iD1BHqORXdh8a4LlnqvxX9djCpRvrHc6CiuJg1DV/Cnyag1xrGhjpcgb7q0Ho4HMiD+8PmHcHrXX2N5a31nFeWVxFcW8q7o5I2DKw9iK9SLUlzRd0c2qdmT0UUUwCiiigAooooAKKKKACiiigAooooAK5b4nsz+GBp6O0f9o3UNmzKcEI7jfj/gIYfjXU1ynxL/49NE/7DNv/ACaqi7O5E/hY9I0jjWONQiKAqqOgA6ClFLRXAZBRRRQAUUUUAFFFFABRRRQAVl+LLNb7w5fwY+cQtJE3dZE+ZGHuGANalQah/wAeFz/1xf8A9BNXTbU00J7G74av/wC1PD2nan3urWOY49WUE1oVznwv/wCSc+Hf+wdB/wCgCujrrluzoWwUUUUhhRRRQAUUUUAFFFFABRRRQAUUVHdXFvaW0lzdTRwQRKXkkkYKqKOpJPAFAElcZ4x8dR6dqDeH/Dtn/bniMpu+yo+2K1U9HuJOka+3LHsO9Yl94o1vxwzWvhCWXSfD5ysuutHia5GeVtUYcA/89WGP7oPWtbw5oWl+HtP+w6TaiGIsZJGLFpJnPV3c8ux7kmgDKsfGPiPwpJt+IAtr3S5SCNa0+ApHasx+5PFyVQZwJBkY+9jrXpNtNDcwR3FvNHNDIoZJI2DKwPQgjgiucZVZSrKGUjBBGQR6GuRi0nWvBc733ghFutMZi9z4fmk2x8nJa2c/6puvyH5D/s9aAPVaKw/B3irR/FVi9xpkzrNC3l3VpOhjuLaTukiHlT+h6gkVuUAFFFFABRRRQAUUUUAFFFFABRRRQAUUUUAFFFFABRRRQAUUUUAFFFFABRRRQAUUUUAFFFFABRRRQAUUUUAFFFFABRRRQAUUUUAFFFFABRRRQAUUUUAFFFFABRRRQAUUUy4mit4XmnkSKJAWd3bCqPUk0APrnfEXidLK6/srSrY6nrDLkW6NhIR/elfoi/qewrMuda1TxOTB4deTT9KyRJqjJiSYdxAp7f8ATQ8egPWtLRdKsNHtDbWMHlqzF5GJLPIx6s7HlifU1z18TCjpu/63/wAi4U3P0KGmaHJ/aA1jXboanqoz5blcQ2wPVYk/h/3jlj69q3KKK8epVlUlzSZ1xgoqyCiiioKCiiigAooooAK5+40a80q8k1TwtJHBLIS9xp8hxbXR9f8Apm/+0OPUGugorWjXnRd4sicFNakfhvxHZ60ZLfy5LPUYP+Piyn4ljPr/ALS+jDINbVctrui2mrCKSRpLe8gyba7gbbNCfVT6eoOQe4qGw8SXmkTx6d4s8tA7BLfVI12wTHsJB/yyf6/Kex7V7NCvCv8ADo+3+RyTg4b7HX0UAggEcg0VqSFFFFABRRRQAUUUUAFFFFABXKfEv/j00T/sM2/8mrq65T4l/wDHpon/AGGbf+TU0RU+FktFFFcJkFIzKqszsqqoyWY4AHqTS14h+1LLcalqXgLwNJqE1ho/iPWPJ1OSJ9hkjXbiMt2BJ/lTSuxpXPX5Nc0WPT59Rk1jT1srf/XXH2lPLj/3mzgfjV2GSOaFJoZFkjdQyOpyGB6EHuK8F+OPwy8F+B/gl401Dwto/wDZclxpsdvMkcrlHUTIQSpJ+b3rG8X/ABi8QaFfaN4M8M3Wj6U1l4ftbq6vdSs57kSu0SlYkSJWI4x8x4qlG+w7XPpaivANR+Lviq++GPhjxHa6l4Z8KX2omdLyPVreeV3eNto8iFFLsDySccZFZifHLxlc/A+z8WWdppL64vidNFmHlMLe4U5+ZVPKZ469PSjkYcrPpKisTwTH4oj8Owr4yuNMuNY3MZn09GSHaT8oAbnIGAT3rbqCQqvqP/IPuf8Ari//AKCasVX1H/kH3P8A1xf/ANBNVD4kJ7Fv4Yf8k58O/wDYOg/9AFdHXOfDD/knPh3/ALB0H/oAro67Z/EzojsgoooqRhRRRQAUUUUAFFFFABRRXD+L/Gl5HrE3hbwjYrf65GiNdTT5W009XGVaVurMRyI15Pcgc0AbXjLxZo/hW0il1KSSS4uG8u0srdPMuLp/7saDk+54A7kVxD6PrPjG6j1HxyqQ2CMHtfD0Um+FCDlXuGH+uf8A2fuD0J5q/wCGvDEGl3kur393Nq+vXC7bjUrkDeVznZGo4jjHZF/HJ5roKAEACgKoAAGAAMACloooAKKKKAOe8SeGItSvY9Z0y8l0bX4F2walbqCxXOfLlU8Sxn+634EHmrvhfx1KNTh8OeMrWLSNakJW2lRibTUMd4XPRvWNvmHbcOa1Kpa5pOm65pkumatZxXlpKPnjkGRnsR3BHYjkUAdnRXllvrevfD2Nv7Ylu9f8KRgn7aRvvdOT/pqOs0Y/vj5wOoPWvTrS4gu7SG6tpVlgmRZI3U5DKRkEfUUAS0UUUAFFFFABRRRQAUUUUAFFFFABRRRQAUUUUAFFFFABRRRQAUUUUAFFFFABRRRQAUUUUAFFFFABRRRQAUUUUAFFFFABRRRQAUUUUAFFFFABRRWR4l8T+HfDVq114g1zTtLhA3Frq4WPj2yeaANeivnnxx+138LdCEsWjNf+IrlMhRaw+XET/vvjj3ANeNav+1L8Y/HUzad8PfCa2JclQ1naveTjP+0RtB/4DQB9peLfE2keGLBbrVbkRmQ7YYgR5kzeij+Z6Dua43w/eWnxBabUL3VtP1CytJ/L/suxuVmghkGCPOdeJHxg4+6PfrXyvB+z7+0F8ULyHUPH2uNZR4JVtTvDI8YPULEmQv04r3H4G/DZfgONT03VNWub6w1WaNo9Q8sLbRuoIw45MbHOMklTgcis6/P7N+z3/H5Dhy83vbHtYAAAUAAcADtS0gIZQykEEZBHQilrwDvCsP4g6ldaP4D1/VrF1S7stNuLiBmUMFdIyykg8HkdK3KwfiJp93q3gDxDpdhF5t3d6ZcQQR5A3O0bBRk8Dk1ULcyuJ7GB8JvGE2qfBHRfGviu+gjkk037Xf3JURooGdzYHA4HaqvgT41+A/GWurouk3WoRXksD3FsLyyeBbqNRlmjLD5hjmvMPDPhv4pa18DZvg/rXgM6DCujtbw6w+qRSK8yMHRWjXJAYjaTk4Gah+FPw98cQeKtDutf8G6tZXehWM0Vnqd94nF3bxS+UVXy4AMhC2OM4Aro9lD3m3+KM+aWh6X4e+PHw/1zxJZ6DbSavb3F/IYrKW702SGK5cfwozDkntV5PjJ4Jf4ey+OBcXv9mRX39nvH9mP2gXG8J5fl9c5IP0rwvRPh/wDGrUvGHg6+8WaPqtw+j67HdX17c69HNA6Bj88NuMCMAemSfSuhm+EfjBvjlLYLYJ/wrqfxEniWWYSrzOsZPlbM5/1h9MVTpUr7/iJTkekeK/jr8PPDPiCfRNSvb9p7Uot7Lb2MksNmzYwsrqMKeeR2qz4u+M3gbw14gh0O6ub+9u5IIrhv7PsnuEhik+47svABBB+hrxPxX8KPH1j4v8Z29v4X1bxJoniO/ku0ax8TLYQlX6pPEQd2On0FanxJ+H/xCHiTTG+H/gyfSNRs7GztIPENrryohjRFDRXELD96FIIBxyAOvSj2VLTX8UHNI+nAQQCOhGRS1HaiZbaJbhleYIokZRgFscke2c1JXGbBUdzBDc28lvcQxzQyKVeN1DKwPYg9akqO5nhtreS4uZo4YY13PI7BVUepJ6U1e+gnbqYEEWr+FTu0lZtU0UH5tPZt09svrCx+8v8AsH8D2rlfG37Snwu8Iawmlarf6g9w0KzHyLNnCg5+VuhVgQcqRkV1UEur+Kzt0tp9K0U/ev2XbPcj0hU/dU/3z+A71j+J/wBn/wCE/iS/W/1jwstxdCMRmUXUqswGeWwwy2Sck8mvoKXtOT978X9b+f8ATOCXLze5t/WxyQ/a7+DR63+sD66c3+NPX9rj4MH/AJimqj66dJWi/wCy18E2/wCZUkX6X83/AMVUT/sqfBVv+Zcul+l/L/8AFVQFdf2tPguf+YzqQ+unSf4U9f2sPgqf+Y9fD66dL/hSN+yd8F2/5gd+v01CT/Gom/ZI+DDf8wrVB9NRegC0v7VnwUP/ADMl0Prp03/xNPX9qj4Jt/zNE4+unz//ABNZrfsh/Bo9LHWV+mot/hSL+yD8Gwcm01th6HUT/hQBsL+1F8E2/wCZtYfWxm/+JqVf2nPgo3/M4oPrZzf/ABFYEn7IHwdZSFt9cjPquoHj8xULfsd/CMnKtr49vtw/+JoA6pf2lvgo3/M7W4+ttN/8RVLVPjN8NPGmp6BofhnxVbahqMmrQukCxSKSqhiT8ygcCubl/Y2+FLfduvEMf0u1P80qKz/Zu8DfDfxT4e8VaFfazLew6pHGqXMyNHh1YHgKD+tNEz+Fnt1FFFcJiFcn8UPAOg/ETw8uj66s8fkyie1urd9k1tKOjo1dZXLfEL4geE/AVnBc+JtUW1Nw223gRGkmmPfai8n69KavfQaOOPwShuvDmtaTrfjzxTrcmq2a2X2i9nD/AGeIOr/InTJKjJPNWfFHwa0/VNT0/WNH8T674b1e00+PT5LzTpFBuoYwAokUjBIx1rofh18SvCfj6W8g8O3dy9zZBWuLe5tXglRWztO1hyDg9K7HB9DT5pId2eVa/wDBez1W08POvjPxNa6xoSSxw6us6vcypKcuHJGPpjoKgtvgToNv4HXwmmuarJbL4gXXfPl2vKZV/gJ7g9z1r0/XNV03QtLn1TWb6DT7G3AM1xcPsSME4GT25IFWbeSO4hjmhYSRyoHjZeQykZBHsRRzMLsfRQetFSSFQX+PsNxnp5L/APoJqeoNQ/5B9z/1xf8A9BNVH4kJ7Hx9pvhT9rSbT4Ljw/q2qrpEiBrFU1SFQsJ+4AC2Rxjipz4X/bNTpqmtH/uJwH+tfYfwu/5Jx4d/7BsH/oArpK7Z/Ezojsj4W/sL9tBP+Yhrp/7frc/1pP7M/bRT/l515v8At6tj/WvuqipGfCht/wBtJP49fP8A21tj/Wkz+2kn8HiA/jan+tfdlFAHwn9q/bSX/lj4gP8A2ztTS/2p+2gn/Lp4gP8A262x/pX3XRQB8KHxB+2dH10/xAf+4fAf6U3/AISz9sqPrpmvH/uEwn/2Wvu2igD4RPjr9sWPrpOun/uCRH/2SvSf2etV+J8nimXVfijDdWtzr2+yijubNbYmS2QSIwUAA5R5Bn/YxX1LXD/G2xaXwQ+tQRs13oFxHq0G37xEJzIo+sZkH40AaVFRWtxDd2sN3bOJIJ41kjYdGVhkH8jUtABRRWN401PVtI8O3F7oehya5qIKpBZJKI97McZZjwqjqT6CgDZory34U/EvX/EfjvXPBPizwxbaNq+lW6XBazvPtELIxGAT2bkfrXqVABRRRQByXxSzeaDbeGYZmiuPEN7FpqlfvCNjumI+kSvXqEEUcEEcEKBI41CIo6AAYArzjRUj1z4xuzR74fDOncMeguro9vcRJ/5Er0qgAooooAKKKKACiiigAooooAKKKKACiiigAooooAKKKKACiiigAooooAKKKKACiiigAooooAKKKKACiiigAooooAKKKKACiivIPH37SPwl8Hzy2lz4h/tO9jJV7bTYzMysDggtwoP1NAHr9Br4r8WftneINUuXsPh/4JVHfiKW8LTyk+ojTj9TXOp4b/at+L8bPqV3qmmaZMeVuphYQEHsI1wzD8DQB9feOfi38OfBcLt4g8W6bbyr/wAu8colmJ9NiZNeD+O/21fDNmGg8G+Gb7VZe0964t4vwUZY/pVDwP8AsT6fGEuPGvi6e6lzue306PYp9vMfJP5CvevA3wP+Fvg3ypNG8H6ebmMcXV0n2ibPrufOD9MUAfKEnxN/ag+LVwYvC2mX+l2L8A6da/Z4gPeaTk/gfwrV8M/se+OvEd62pfETxlFbSSHdII3a8uGPu7EKPzNfbyqqqFVQoHQAcCloA8P8Cfss/CTwyiPdaPLr90OTNqUu8Z9kXCj8jXsmkaVpmj2SWWk6faWFsgwsNtCsaD8FGKuUUAFMnijnheGaNJI3Uq6OMhgeoI70+igDirjQ9T8MsZ/Dqvf6V1fSmb54R3MDH/0WePQjpWjourWOsWn2qwm3qDtkRlKvE3dXU8qR6GukrnvEPhmO+u/7V0u4OmawoAFzGuVmA6JKnR1/UdjXPXwsK2uz/rf/ADLhUcPQt0Vh6Zrki366Pr1qNN1Uj5F3ZhufeJ/4v904YenetyvHqU5U5cslqdcZqSugoooqCgooooAKKKKACiiufn1i91a8k0zwrHHPJG2251CUZtrY9wP+ej/7I4HcitaNGdaVooidRQV2Tat4n0iwun09Lhb3VFZVGn2rCS4LMMjKA/KMc5bAA70un+GrzVriPUfFhjk2EPBpcbbreAg5DOf+Wr+5+Udh3r5M+N3wb+LHw18bXfxU8DeItS1tnkae7uYxi7iz94PGOJI+OwwB1HGa9N/Z8/ao0Hxibfw/458jQtfYiNLgnba3LfU/6tj6Hj0PavYoUI0Vdb9/8jknNzeux9KjgUUisGUMpBBGQR3pa2JCiiigAooooAKKKKACiiigArk/iX/x66J/2Gbf+TV1lcn8S/8Aj10T/sM2/wDJqaIn8LJqKKK4TIDXz54svLLRv2thqHimW1torjw55Xhy6v8A/j1iuR94EngHOc9+fcV9B1keKfDPh7xTp4sPEejWWq2ytuWO5iDhT6jPQ/Sqi7DTPnuX4ieMdW0H4s6Trd14abUNB0JZINU8Oh03F8nAkLZOPwwc1W1NE0P4ReFLzWvG3jrUNY8ZNbTBLfVUtgX8rPliVxthjwwyeSSBXvekfDrwLpGjX+j6X4V0u0sNRj8q9hihwJ0/uuepH41a1jwX4T1jw5a+HNU8P2F5pFoqLbWksW5IQowu3uMDiq5kVzI+RrybVdd+A/xP03U9d1m4tvDmp28likuqrdthjtaOSZRiVOc8YGQD2rovHN9e6Lo3w58F+HPFWtXuharby3V3cpr0cE8swVT5AumBVFXPC/hX0lpHgPwZpGmahpmmeGdMtLHUUCXlvHABHOoGAGXoeKrv8NvAMnhiPwzJ4S0p9HilM0do0AKJIerDuCfXNHOg5kcl+zLJ4oHhnWLLxHqa6jFa6iU0931OO+mjhKg+XLLHwWHvjrXrNZHhXwz4f8K6adN8N6PZ6VZlzI0VtHtVmIxuPqeOta9Q3dksKg1D/jwuf+uL/wDoJqeoNQ/48Ln/AK4v/wCgmnH4kS9iz8Lv+SceHf8AsGwf+gCukrm/hd/yTjw7/wBg2D/0AV0lds/iZ0R2QUUUVIwooooAKKKKACiiigApk8Uc8EkEyB45FKOp6EEYIp9FAHlvwtaa10G58OXQIuPD97Lppz/FEp3Qt+MTJXWVzusRSaN8YhIGAs/Eem9PS6tj/NonH/fuuioAK5T4tXul2XgLUf7b0fVtX0y4C211baZGzzmNzgsApBwO5BzXV0AkdOKAPmv9mbSprL4s+IbrwdouvaV4AnslyusQlZJLoEY2FvmIA3dSf5V9KUEk9STRQAU2WSOGJ5ZWCxopZ2PYAZJp1cp8U3mm8Lf2FaTGK7125i0uFh1USnEjD6Rhz+FAGx8E7e4k8ISeILyPZda/eS6kykcrG5AhX8IlSu5qGytobOygs7dAkMEaxxqOyqMAfkKmoAKKKKACiiigAooooAKKKKACiiigArG8UeILfQI7RprS8u5LufyIYrZAzltrN3IGMKa2a474j/8AIT8Lf9hNv/SeWtKUVKVmRNtRuh//AAm5/wChV8Q/9+Y//i6P+E3P/Qq+If8AvzH/APF0UV0+yh2MueXcP+E3P/Qq+If+/Mf/AMXR/wAJuf8AoVfEP/fmP/4uiij2UOwc8u4f8Juf+hV8Q/8AfmP/AOLo/wCE3P8A0KviH/vzH/8AF0UUeyh2Dnl3D/hNz/0KviH/AL8x/wDxdH/Cbn/oVfEP/fmP/wCLooo9lDsHPLuR3Pj+G1ga4uvDevwQJy8jQR4Qepw/SuyHIrzfxz/yKOp/9cD/ADFejr90fSsa0IxSaLpybbTFooorA1CiiigAooooAKKKKACsDxb4iGkLFZWMIvdYuwRa2oOB7yOf4Yx3P4Dmjxb4iGkLFZ2UIvdXu8i1tQcfV3P8MY7n8BzWVoWkmxaa9vLg3uq3ZDXV0wwW9EUfwovQL+J5pTmqauy6dN1HZbFJNB1iVfNvPGmvfaH+aQW0kccQY9QilCQvpyad/wAI9qH/AEOnif8A8CIv/jdb9Fcn1ur3/I6/q1LsYH/CPah/0Onif/wIi/8AjdeQN+yh8O7rXL/VdU1HXb17u4efy/OSNULHJHC88k+le/UVLxNR7saw9NbI8/8ACnwq0bwhamLwlqV/pDgfK8ccByR03ny9zD2JrvfCPiKTUJZNJ1aFLTWrZcyxKfkmTtLET1U/mp4NPrM1/SI9Uiikjme0v7ZvMtLuMfPC/wDVT0KngitqWJbdqn39jKphla8Nzs6K5zwj4ik1CWTSdWiS01q2XMsSn5Jk7SxE9UP5qeDXR10tWOVMKKKKQBRRRQAUUUUAFFFFAFLW9J0/WrBrHUrVLiFiGAbgqw6MpHKkdiOa5OZtX8J/LqLT6toi/dvQu64th6SqPvqP74GR3Heu5oPPWpnCNSPLNXQJtO6MS1uILq3jubWaOeGRdySRsGVh6gipax9S8M3el3MmpeE2jhZ2L3GmSHFvcEnkr/zzf3HB7jvUmh63aaqZYVSW1voOLizuF2zRH3HcejDIPrXk4jCSpe8tV/W51U6ylo9zUooorkNgqrquo2Wl2T3moXCW8C/xN3PYAdST2A5NUNZ1xba8XS9Ntm1LV5BlLWI4EY/vyt0Rfc8nsDVnQ/C7LeprHiC4XUdUXmIAYgtPaJD3/wBo/MfbpXdh8E5+9PRfi/67mFSslpHczrfT9Y8VYk1FbjR9EOCtqDsubsf9NCP9Wh/uj5j3I6V2FhZ2thZxWdlbxW9vEoWOKNQqqB2AFT0V6kUox5YqyObd3e4V88ftB/sv+GfHouNc8KiHQPEbAu2xcW123+2o+6x/vD8Qa+h6KYHwT8O/jP8AE/4B+IU8E/ErS72/0aJgqRztulhjHG63l6On+yTj0xX2l8PPHXhfx/oEet+FdWhv7ZwN6g4khb+66HlT9ab8RvAfhb4g6BJovirSob63IPluRiSFsfeR+qmvi34hfBz4ofs++IX8a/DfVb2/0WM5eWFcyRJ12XEQ4dP9oDH0oA++KK+ev2fP2nvDPxAEGieJ/I8P+I2wqq74trpv+mbH7rH+6fwJr6FoAKKKKACiiigAooooAK5P4l/8euif9hm3/k1dZXLfFBHXwx/aCRtJ/Z11DeMqjJKI434/4CWP4VUVd2IqfCx9FNjdJI1kjYOjgMrDoQehp1cBkFFFFABRRRQAUUUUAFFFFABUGof8eFz/ANcX/wDQTU9ZXiy8Fj4cvp/4zC0cS93kf5UUe5YgVdNNySQnsa/wu/5Jx4d/7BsH/oArpKz/AA1Yf2V4e07TeP8ARbWOE49VUCtCuyTu2dC2CiiipGFFFFABRRRQAUUUUAFFFFAHB/G+18vwlB4kiDfaPDl5HqalRyY0ysy/QxM/5CtSKSOaJJoWDxuoZGHQqRkH8q6O9toL2zms7qJZYJ42jlRhwysMEH6g15X4ct/iB4f0O10JvBa6munobeK7TWIkE0aEiNtrLkHbtyD3oA7Oiuc/tDx7/wBE5P8A4PIP/iaP7Q8e/wDROT/4PIP/AImgDo6K5z+0PHv/AETk/wDg8g/+Jo/tDx7/ANE5P/g8g/8AiaAOjrmrGNNc+MdrEQXg8Nae1y/90XNzlEH1Eauf+B07+0PHv/ROT/4PIP8A4mtn4XaLqmm2Oqalr1rFa6tq+oSXU0McokEUYASKPeOGwiL07k0AdhRRRQAUUUUAFFFFABRRRQAUUUUAFFFFABXHfEf/AJCfhb/sJt/6Ty12Ncd8R/8AkJ+Fv+wm3/pPLWtD418/yM6vwj6KKK6zEKKKKACiiigAooooAxfHP/Io6n/1wP8AMV6Ov3R9K848c/8AIo6n/wBcD/MV6Ov3R9KxxHwr5/oXS+Ji0UUVym4UUUUAFFFFABWD4t8RLpCxWdnCL3V7vItbUHGfV3P8MY7n8BzW9XnvhFVn1XxHqE37y7Orz23mtywijICID2UZPHvSlJQi5MqEeeSiXtB0k2LTXt7cfbdVu8G6umGN3oij+FF7L+PWtSiivOnNzd2ejGKirIKKKKgoKKKKACiiigDM1/SE1OKKSOZ7S/tm8y0u4x88L/1U9Cp4IrQ8I+In1CSTSdWiS01q1UGaJT8ky9pYieqn81PBp9YHjSNEj0vUEGy7ttTtVhmXhlV5kR1z6MpII712Yaq21Tlt08jkxFJWc1ud/RRRXScoUUUUAFFFFABRRRQAUUUUAFY3iXw5Y60I5maW0v4Afs17bnbLCfQHuvqpyDWzRTTA4dNavNFuU0/xYsUG47YNSjG22n9mz/qn/wBknB7GkjvdU8UO0Ph5mstMyVl1Z05f1Fup+9/vngdga63W2sI9IupdUjikskiZpllUMpUDJyDwa474R+NR4qj1C3nWOGa3mLQxKMYgJ+UY9un5VgsNRUufl1/Arnm1a51fh/RNO0Oza20+ErvbfNK7FpJn7u7Hlj7mtKiit229yUrBRRRSAKKKKAChgGBVgCD1BoooA+Zv2gv2VNB8XfaNf8B+RoWunLva422ty3XoP9Wx9Rx7d68r+Fvx/wDiB8G9eHgb4saXqF7p1uwjDTjN1bJ0DIx4lj9Ofoe1fdtcf8U/ht4R+JWhNpPinS47jaD5Fynyz27H+JH6j6dD3FAGp4J8W+HfGmgw654Z1W31GxlAw8Tcof7rDqrD0NblfAPjH4b/ABa/Zr8SP4r8Falcaj4e3/vJ4kLIUz9y5i6f8CHHoRX0V+z/APtJeE/iVHDpOqNHoXiUgA2kr/urg+sTnr/unn60Ae6UUUUAFFFFABTZEWSNo5FDIwKspGQQe1OooA87mtb7waTbvb3F74eBzbzwqZJbJT/BIo5aMdmGSBwRxmrtprmi3abrfVrGQe065H4E8V29ZeoeHPD+oyGS/wBD026c9WmtUcn8SKUoQm7vcydN9DE/tDT/APoIWf8A3/X/ABo/tDT/APoIWf8A3/X/ABrQ/wCEK8H/APQq6J/4Ax/4Uf8ACFeD/wDoVdE/8AY/8Kn2MO7FySM/+0NP/wCghZ/9/wBf8aP7Q0//AKCFn/3/AF/xrQ/4Qrwf/wBCron/AIAx/wCFH/CFeD/+hV0T/wAAY/8ACj2MO7DkkZ/9oaf/ANBCz/7/AK/40f2hp/8A0ELP/v8Ar/jWh/whXg//AKFXRP8AwBj/AMKP+EK8H/8AQq6J/wCAMf8AhR7GHdhySM/+0NP/AOghZ/8Af9f8aP7Q0/8A6CFn/wB/1/xrQ/4Qrwf/ANCron/gDH/hR/whXg//AKFXRP8AwBj/AMKPYw7sOSRhX/iPQ7MES6nbvJ/DFC3myMfQKuSTUug6RqOt6rb61rVq9lY2reZY2EmPMaTHE0voR/CvbOTzXU6bo+k6YP8AiW6XZWfY+RAqfyFXquMYw+Hcap66hRRRQahRRRQAUUUUAFFFFABRRRQAUUUUAFFFFABRRRQAUUUUAFFFFABRRRQAUUUUAFFFFABRRRQAUUUUAFFFFABXHfEf/kJ+Fv8AsJt/6Ty12Ncd8R/+Qn4W/wCwm3/pPLWtD418/wAjOr8I+iiqmtLcvo18lkSLpraQQkf39p2/riusyOB8TfHD4c+H9buNHutWubu7tTi6FhZyXC257h2UYFd3oGr6dr+i2mtaRdLd2F3GJYJlBAdT355H418vfC7xVceGfgKR4T1Hwpp/ibTbi7l8R2uuAi4nZSSAoyCzHGBnjtW/pHjm6uPGHwZ1rVNQttE03VdKvHu4IZPs9mZMHGVzt64xnuayU+5Tie3fETxfpfgXwy/iDWkuGtFmihIgTc26Rtq8E9MmmaL400nVvHWseDbVLn+0tJt4bi4LJiMpIAV2nPJ5Ga+YfF+uz6/8Kfibctq0upWaeN7ZbKQzmRFi8wYCdgv04rqta0fUtd+LXxfsNGvrux1P/hHrGa0mtpSjiWNUZRkc4OMH60e0dw5T6Zor55+CfjXVvin8StI1VLy7j07w94djXUoldljm1CUlTuXo2ApPtX0NWkXdXJasYnjshfB+qMxAUW5JJOABkV20fiDQWUbdb008drpD/WuA+KFq198OvEFiriNrmwlhDEZCllxn9a+dU/Yj8QBcj4g6fnHaxkH/ALNWWI+FfP8AQql8TPs5dY0lvu6pYt9Lhf8AGpV1Cwb7t9bH6Sr/AI18VP8AsU+Ll/1PxA00/W3lH9ajb9jHx4v+r8e6Wf8AgMwrlNz7dW4t2+7PE30cVIGU9GH518Mt+xz8S1/1fjjSj/20nH9KY37IPxYX/V+NdKP/AG9Tj/2WgD7qyPUUV8J/8Mk/GNP9X400z8L+4H/stH/DKvxxj/1fjWx/DVLgf+y0AfdlefeCv9Z4i/7D13/MV8rD9mP9oCP/AFfja3/DWJx/Svev2ZtB1zwz8ObjQ/El4LzVbTV7pLmYTGXe24c7jyazrP8AdP5GtD+Ij1Ciig9D9K849A8p8L/HTw74k8RR6PpPhzxVOHvjYm8XTibaOQNtJZwcADv7V1fw08c6f48stVutNs7q2XTdTm06QT7cu8eMsME8HNeJfsnab4+ntr6+0nxXp1p4aj8TXX2vTZNPEk02GG7Ev8ORj6YrhE1a+074W6rbLqV3pWiah8R57XWr21Yq8NscZG4fdB9fauh04vRHOqkt2fahB9KMH0NfItjqP/CJ+LvHth8G9evtY0G28JNeEi7a7jtrzcACjHPzbcn8/SqHhiXw7puq/C3V/h/4y1PV/FusX8K69btqDzGSNgDN5sZOECncPwz71PsfMftfI+p/iR4rs/A3gnUfFeoWtxdWtggd4oMb2BYLxnjvWzpd2moaZa38assdzCkyq3UBlBAP518NeOZvD2seBfiJrfivxbqUfjyPWpbW30171kBt1kG2MQ9GTGTnttFfbHg7/kUNF/7B9v8A+i1pTgopFQm5NmrWB46Yrpdjjvq1iP8AyYSt+uf8ef8AILsP+wvY/wDpQlVhv4sRV/4cj0Ciiiu44AooooAKKKKACiiigAooooAKKKKAK+o2drqFnJaXtulxbyD543GQ31rlPhtouhWsVxf6d4eu9Kn894/9LH7wrx05+4e1dk5whJOMDrXNfDe4t7nQZJrbW7zWIzcuPPukKOpGPlwewoA6aiiigAooooAKKKKACiiigAooooAbNHHNE8M0aSRupV0cZDA9QQeor5Y+P/7J+m61JN4k+GbRaPqwPmPpu7ZbzN1zGf8Alm3t936V9U0UAfDvwh/aT8ZfDXWB4H+MWnahPb2zeWbmZD9stR23Z/1qe/XHQmvs7wr4i0TxTokGteHtTttSsJxmOaB9w+h9D6g8iuY+L/wn8G/FHRjY+JNPH2lFItr+EBbi3P8Ast3H+ycivjfXvCfxi/Zd8Strnh68k1Lw1LJ88yIWtpl7LPH/AANj+L8jQB+gdFeN/AT9oTwf8UreKxMi6N4iCjzNOuJB+8PcxN/GPbqPSvZKACiiigAooooAKKKKACiiigAooooAKKKKACiiigAooooAKKKKACiiigAooooAKKKKACiiigAooooAKKKKACiiigAooooAKKKKACiiigAooooAKKKKACiiigAooooAK474j/8AIT8Lf9hNv/SeWuxrjviP/wAhPwt/2E2/9J5a1ofGvn+RnV+EfRRRXWYnJeIfhr4A8Qam2qa14Q0i+vmOXnltxvY+5HX8at634G8H63o9no+reGtMu9Psv+PW3kgGyH/dHauiopcqHdnMD4feCRpV1pK+F9MSwu547i4tlh2xySJjYxA7jAxWna6DpFjrV9r1jptrDq17EsVxchcNKqD5FY+gwK1KKLILnnnwM+Hcnw+0XVUvrmzutU1bUZL67ktIykS7j8qIDzgDP516HRRQlZWBu5i+Of8AkUdT/wCuB/mK9HX7o+leceOf+RR1P/rgf5ivR1+6PpWWI+GPz/Qql8TFooorlNwooooAKKKKACvPvBP+s8Rf9h67/wDQhXoNee2gfw34jvtO1JQtvq1/Ld2N3/A7yYJhb+64xx/eHTnipqpyptI0otKomzoqKKK8w9Ep6PpOl6Pbvb6Tp9rYwvK0zpbxhFZ26sQO59arw+HfD8OnXenRaJp6WV5I0t1bi3Xy5nbqzLjBJ9TWpRTuxWRm6DoGh6Bava6Ho9hpkDnc8drAsasfU4HNQaR4U8MaPqMupaT4d0qxvZs+ZPb2qI7Z68gZrZoouwsjEv8Awh4Uv7+5v77w3pFzd3UZiuJ5bRGeVD1ViRkitmGOOGJIYUWONFCoqjAUDgAU6ii7CyCuf8ef8guw/wCwvY/+lCV0Fc7q5fxBrFtoGmr5hs7y3u7+4/5Z24jcOE93bA+XsDk1vhYt1U+xjiGlTfmehUUUV2nCFFFFABRRRQAUUUUAFFFFABRRRQBn+ItXs9D0mXUdQlMNumAX2FgpPAyBzjNc78MfE1vrVlLatqNne30TM8htLZ4o1Qn5fvDrV3x3q2lQadLo93BNqF1fRMkdhbKHmkU8bsdFA/vEgVjfBDT9L03wvJHaXHm3zTE3qOu2WJuioynlcD8+cU+V2uK6vY76iiikMKKKKACiiigAooooAKKKKACiiigAqK8tre8tZbW7gjuLeVSkkUihldT1BB4IqWigD5G+Pf7JyS3Enin4TSf2ffxt5zaV5hRCw5zA/wDA2einj0IrC+Cv7UWv+ENSHgv4yWV6fszeT/aEkRFzbn0mT+Mf7Q5+tfa1ecfGr4M+DPipphi1yzFvqaLi31O3UCeL0BP8a/7J/DFAHc6DrGl69pMGraLqFvqFjcLuingcOjD6ir1fnzdWHxn/AGV/EpurSQ6l4Ynl5Zdz2VyM9HXrFJjvx9SK+sfgZ8dfBfxVskhsLkadripmfS7lgJAccmM9JF9xz6gUAeq0Vm6/rul6FAs2pXSxGQkRRgFpJT6Ig5Y/QVhp4yvLgb7TwlrLxn7rTNDCSPXaz5/OqUXa5LnFbnXUVyL+LNaBGzwbfN9b23H/ALPTf+Et1z/oS7z/AMD7f/4qjkfdfehe0idhRXH/APCW65/0Jd5/4H2//wAVR/wluuf9CXef+B9v/wDFU+R9196D2kTsKK4//hLdc/6Eu8/8D7f/AOKo/wCEt1z/AKEu8/8AA+3/APiqOR9196D2kTsKK4//AIS3XP8AoS7z/wAD7f8A+KpU8Wa0T83gy9A9r23P/s9Lkfdfeg9pE6+iuRbxv9lYHVfDms2UR6zLGk6J7t5bEge+K6XTNQstTso73T7qK6t5B8skTblNDi0rjUk9izRRRUlBRRRQAUUUUAFFFFABRRRQAUUUUAFFFFABRRRQAUUUUAFFFFABRRRQAUUUUAFFFFABRRRQAUUUUAFFFFABXHfEf/kJ+Fv+wm3/AKTy12NcR8VLq1srvwxcXlxDbQrqjbpJXCqP9Hl6k8VtQ+Nf10M6vwlmisj/AISfw1/0MOk/+Bif40f8JP4a/wChh0n/AMDE/wAa7OV9jC6Neisj/hJ/DX/Qw6T/AOBif40f8JP4a/6GHSf/AAMT/GjlfYLo16KyP+En8Nf9DDpP/gYn+NH/AAk/hr/oYdJ/8DE/xo5X2C6Neisj/hJ/DX/Qw6T/AOBif40f8JP4a/6GHSf/AAMT/GjlfYLoZ45/5FHU/wDrgf5ivR1+6PpXkvjHxF4fuPC+oQwa5pksrxbURLpCzEkYAGeTXrS/dH0rDEpqMb+f6GlJ6sWiiiuQ3CiiigAooooAKp6zpllq+nTafqECz28owynt6EHqCOoI6VcooTsBwNpPe+H9Si0LXZmmilO3TtRfgTjtFIe0o9f4hz1zW9WprOmWWsabNp+oQLNbyjDKeCPQg9iDyCOlcba3F7oGpRaFrkzTRSnbp2ovwJx2ik9JR+TDkc5FYV6KkuaPzR00a1vdkb1FFFcJ2BRRRQAUUVh6heX2qam/h/w/IEuFA+3X2MpZIew7NKR0Xt1PvpSpSqOyIqVFBXYaheX2q6k/h/w/IEnXH26+xuSyU9h2MpHRe3U+/W6BpFjoemR6fp8WyJMsxY5aRj952PUsTyTRoGkWOh6ZHp+nxFIkyWZjl5GP3nY9WYnkmr9eilGC5Y7HnSk5vmkFFFFAgooooAKKKKACiiigAooqjrerafoti17qVwsEIOBnlnY9FUDlmPYDmhK4XLxOASTgVyGoeJbzV7iTTvCQjdUbZcarIu6CH1EY/wCWr/T5R3Paqs0WreLDv1RZtK0U4KaerbZ7kf8ATZh91f8AYH4ntW/awQ2ttHb20McMMahUjRQqqPQAdK5K+MjT92Gr/Bf5/kaQpOWr0RQ0LRbPSVkeNpbi7nwbm8nbdNOf9pvT0AwB2FRazocd5dJqVjcPp2rRgCO8hAywH8Ei9HT2P4EVsUV5ir1FPnT1Ol04uPLbQzdD8USLex6P4kt00/U34hkU/wCj3fvGx6H/AGD831611Fc/qmn2ep2T2V/bx3ED9Ucd+xHoR2I5FZEF9q/hMBLw3OsaEuAJwN91aD/bA/1qD+8PmHfPWvWoYqFbTaX5+n+RyzpuHmjt6KgsLy1v7OK8sriK4t5V3RyRsGVh7Gp66CAooooAKKKKACiiigAooooAKKKKACiiigCtqmn2Oq6fPp+pWcF5ZzoUmgmQOjqexB4NfJfxb/ZY0zRPEdv408Ea9PoOmW9wJry1V2823Gf+XZhzkn5Qp6EjntX17XKfEw7tM0uBuUm1a2Vx2IDFv5qKcbX1Jk7JmP4a0maALqmsSNdazNGBJLIdxhXAxEmegHc/xHJNbtBorjlJyd2YpWCiiipAKKKKACiiigAooooAKwL7PhfUf+Ei09WSzdwNVtU+46E488Ds69SR1XOe1b9VNahW40e+gkAKyW0ikH0KmtaM3GS7Cfc7BWDKGUggjII70tYfw+uZLzwLoV1KSXksIWYnudgrcrpas7HQndBRRRSGFFFFABRRRQAUUUUAFFFFABRRRQAVDe3VtY2kt5eXEVtbQoXlllcKiKOpJPAFY3jTxdpPhW0je+aWe8uDts7C2XzLm6f+7Gnf3JwB3Irim0XWPF13HqXjry1tI332ugQvut4v7rTt/wAtpB6fcU9AetAHceEfFvh3xZbzT6BqkV4IH2SqAVdPQlWAIBHIOMEcjNblec+IvC9vqV3Dq2n3U2j65bKFt9RtQA4Uf8s5F6SR/wCw34YPNWvC/jq4i1KHw542todK1iT5ba6jJ+xagf8Apkx+6/rG3PpuoA7yiiigAooooAKKKKACiiigAooooAKKKKACiiigAqG7tbW7QR3VvDOgOQsqBgD64NTUUAUP7F0b/oE2H/gMn+FH9i6N/wBAmw/8Bk/wq/RTuxWRQ/sXRv8AoE2H/gMn+FH9i6N/0CbD/wABk/wq/RRdhZFD+xdG/wCgTYf+Ayf4Uf2Lo3/QJsP/AAGT/Cr9FF2FkUP7F0b/AKBNh/4DJ/hR/Yujf9Amw/8AAZP8Kv0UczCyKA0XR1YMuk2AIOQRbpx+lX6KKVx2CiiigAooooAKKKKACiiigAqnrOmWWsabNp+oQia3lGGU8EHsQexB5BHQ1cooTsBxsPhnxVbxiCHxZbSRJ8sbXGmb5NvbcwkG4474Gad/wj/i7/oaNN/8FB/+O12FFPTsvuQ7y7v7zyL4wr8SfDXw71XV/DmoQ6xqsUYFvbWujEuSWALf6w8AZPQ9K+adA/ax8aWOpjTvGmk29p5fyzPBYETK3vG7qP1Ffedcx42+H/grxpbtD4o8NabqeRgSSwjzV+jj5h+BqbRvey+5D55W3Z5V4B+KHh3x9CkGkfFXSLW6mG021zpX2a5XP93fKQT6EbhmvbPD+k2OiaXHYafHtiXLFidzSMers38THqTXy/8AEP8AYt8OXqyXXgbxBdaTPnKW17++h+gYfOP1rzc6T+1J8D5d9jJqWraPCOkLG/tSo9UPzJ+Qqr6WSJd3uz74or5A+H37aVoWWy+IHhaa0mVtr3WnHco9d0TnI/An6V9F+Afir8PvHUUZ8M+KdPvJnAP2ZpPLnHsY2w2fwpAdpRRRQAUUUUAFFFFABRTLiaK3heaeRIokUs7uwCqB1JJ6VxtzrWqeJnNv4dd7DSuRJqrJ88w9LdT2/wBs8egPWk2ormk7IOtkafiHxPHZ3f8AZOlW51PWGGRbo2EhB6NK/RF/U9hWfpehyfbl1jXLoalq2PkcriK2HdYU/h/3vvHuavaNpVjo9p9msYdik7pHYlnlbuzseWY+pq9Xl4jGOfuw0X4s6adG2stwooorhNwooooAKBRRQBz9xo15pd5JqnhaSO3mkbdcWEhxbXJzycD/AFb/AO0OvcGtzw54js9ZMlv5ctnqMA/0iyuBiWP39GX0YZBqSszXdFtNWEckjS215Bzb3kDbZoT7HuPVTkHuK9HD45r3auq79f8AgnNUodYHU0Vx+n+JLzSbiPT/ABb5cYdtlvqka7beY9lcf8snPoflPY9q7AcjNel0utjnuFFFFAwooooAKKKKACiiigAooooAK5T4lf8AHpov/YYt/wD2aurrlPiV/wAemi/9hi3/APZqaIn8LJaKKK4TIKKK4H41fEN/AWj6emnaW2r69rF2LPS7ENtEkh6lj2UZH500rgjvqK8T8VeNPjD4T+HfifWvFGheHLa4sbFLixu7GZpYvMMiqYpEY5yAxORxxXaX/wATfCHhvw9od54y8RWGlXWpWUVwsb7iWLKCSFUEhcnr0p8rHZncUVyPiD4meAdA0bT9Z1fxVp9tp+pKWsp9zOs4HUrtBJxkU9/iP4FTwra+KW8T2A0S6uBaw3uW8tpTnCHjKng9cY70rMLM6uisrwr4i0TxVo0es+HtRh1HT5HZEuIgdrMpww5APBFatIQVBqH/AB4XP/XF/wD0E1PUGof8eFz/ANcX/wDQTVQ+JCexa+GH/JOfDv8A2DoP/QBXR1znww/5Jz4d/wCwdB/6AK6Ou2fxM3jsgoooqSgooooAKKKKACiiigAooqnreq6bommT6nq17BZWcC7pJpnCqo/x9upoAuVwXiTx1cXWoz+HfA9vDqeqRHZdXspP2LTz3EjD78npGvPqVrJvdQ8RePyY4De+G/CrcFuYr/UFz27wREd/vkH+Gui0jTdP0jTotO0uzhs7SEYjhiXao/xPqepoAy/DXhi20m6m1S7up9W1y5GLnU7rBlcf3EA4jjHZF4+p5rfoooAKp6zpen6zpsum6rZw3lpKPnilXIOOh9iOoI5FXKKAOTsdU8QeAAI75rzxF4VQACfBlv8AT1/2wOZ4gO4+cDqG616Po+p6frGmwalpV5Be2c67opoXDKw9iKxK5S78Paloeoza54FnhsrqVt93pcxIsr455JA/1Uh/56KOf4gaAPUaK5nwX4003xK01kYptN1m1H+l6Xd4WeHnG4dnQ9nXIP6V01ABRRRQAUUUUAFFFFABRRRQAUUUUAFFFFABRRRQAUUUUAFFFFABRRRQAUUUUAFFFFABRRRQAUUUUAFFFFABRRRQAUUUUAFFFFABRRRQBwnxA+EHw58dRSDxF4VsJrhwf9KhTyZwfXemCfxzXzr4+/YuMM39ofDvxZJbyodyW2o5yp7bZUGR+I/GvsWigD4HTxT+1D8EXaPWbbUNU0iHgtdx/brbaO4lX5lH1I+len/Dz9s/wnqIitvGuh3miXB4e4tf38GfXH3wPwNfVDKrKVZQykYIIyDXl/xE+APws8cK8mpeGYLO8bJ+16f/AKPLn1O3hvxBoA6/wb448IeMrX7R4X8Rabqq4yVt5wXUf7S/eH4iuir4o8Y/sdeKtCvzqvw08YeY8Z3RRXLm2uEPoJU4P4hawLX4x/tHfB51s/G2j3Wo2EbYDarblwR6LcJ1/EmgD72rK8R6/p+h26Pdu7zynbb20K75p2/uoo5P16Dua8W+GP7RsPxF0SZ9L8NXGkXkMkcE93eyB7G3dwcFpFwT0OFIGfWvUdE0OGxuJNQuLiTUNUnH729mwWI/uoBwieij9ayr1o0Ypy67DhFzdkVDpmpeIplu/FG2O0Vt0GkRtujX0Mx/5aN7fdHv1roQAoCqAABgAdqWivGrVp1XeR2QgoLQKKKKyLCiivEP2soPFkml+HrjS4dduvDMF4z+ILfRJTHePFgbSpHO0fNnHtmrpw55ctxSdlc9uYhfvEL9TigMpJAYEjqAelfLGs6v4Ab4LeHJvDd7rfiXTW8YWqeXqmoSLc2UzH7jEc4GMhTwc9ap+Jde8VeH7z4/ar4VkEd3bahamS4MxR7aLYd0kfqwOBj3NbLDt9f6uR7Q+tKK4f4Hap4t1n4b6XqPjK0tIL+aCNont5/N8+IxqVlc9nbJyK7iueSs7Fp3QUUUUhkd1BBdW8ltcwxzQyKVeORQysD2IPWsCGPV/Ch3aYs2q6KDlrFm3XFsP+mLH76j+4efQ9q6Oit6GInRem3YznSU/Us6Lq2n6zYre6bdJcQklSRwUYdVYHlWHcHmrtcXreki2nm1/Sb6LSNQRC00z/8AHvOo7TL0I/2uGHr2r5/+L37WHiDwV4rj0e08G2E8RtY5jJcTyDzC2fmQgcxnGQcDNezSqRqx54HG04vlkfWlFfDqftv+JP4/Amkn6Xkg/pU6ftwa1/H4B08/S/f/AOJqwPtuivipP24dQ/j+H9qfpqLf/EVMn7cUv8fw8Q/TU/8A7XQB9n0V8bp+3HF/H8OXP01Uf/GqlX9uOx/i+HFx+Grr/wDGqAPsOivj9f24tM/i+Hd4Ppqq/wDxupF/bh0X+L4fagPpqSH/ANkoA+vK5T4lf8emif8AYZt/5NXzkv7cHh/+LwDqg+l9Gf8A2Wrvh79p7RPif4x8OeErPwtqGnTz6nHKJpbhHUBFYkYAzTRM/hZ9C0UUVwmIV5F+0d4c8TXk3hLxn4T07+1dQ8Lan9rewBw88TY3bfUjb0969do6GmnZjTseB/E3xT4m+I3wi8XaVZfDbxJpSf2ehja+jAknm81P3ccY5bAyc+1cZ498JeK9K8e6f4kl0rxPc6beeGrSxD6NZ29zNbSJGFeJ0mRgoJycjHXr1r6vyc9aKpTt0HzHy1faX4t8LeAfA2meH/DPidNFH2tr1v7OtrrVbVnfKJh1KRq3XgdPpWJYeB/FTfAJdFvfDGqm6fx/HcyWk9uDIbc/edlUbdvPJA2+nFfYGTS8+9HOPmILS1tbO3W3s7eG2gT7scSBFH0A4qaiioICoL/mxuB/0xf/ANBNT1BqP/IPuf8Ari//AKCaqPxIT2Pmvw9+2L4b8OaJZ+H5vBurTyadCtq8qXUYDlBtJAI6HFaA/be8Kd/BGtD/ALeYq9h+H3w0+Ht/4E0O8vfBegz3E1hFJLLJZIWdioJJOOSTW03wj+GDfe8B+Hj/ANuKf4V2z+JnRHZHgy/tu+EP4vBeuD/tvF/jUi/tt+Cz97wfro/7axf417i3wd+FjdfAPh7/AMAk/wAKjb4L/CdvvfD/AMP/APgGtSM8WX9tjwN/F4U18f8AAov8aev7a3gLv4Y8QD/v1/8AFV7E3wR+Ebdfh74f/wDAQVGfgX8Hz1+Hfh//AMBhQB5Kv7anw9/i8O+IR/wGP/4qnr+2l8OT10HxCP8AtnH/APFV6qfgR8Hj/wA070H/AMB//r0xvgH8G26/D3RPwjI/rQB5iv7aHw176N4iH/bGP/4upF/bO+GB+9pfiIf9u8f/AMXXor/s9/Blv+af6UPpvH/s1Qv+zp8F2/5kPTx9HkH/ALNQBwi/tl/Cs9bDxEP+3VP/AIupPht8QvC/xm+JGqahGupXVlpsEMukWt/GEhiccTOIwSGkDFDuOSAwxiuxf9mz4Kt/zI9qPpPKP/Zqq6z4B8M/C2LQNX8G6OmnWMGreVqKK7NmK6CwliWJOFcRH04NAHoFFFFABRRTJpYoYXmmkSKJFLO7sFVQOpJPQUAPorK8NeI9B8S2k154f1a01S3hlMMkttIHVXABK5HfkVq0AFFFFAHFfGK0tF8JXGtpHMmt2KgaTdWrbLiO4dgsaqw6hmIBU5BGcivU9NS6j062jvpVmulhQTyKuA7gDcQO2TmvOdehl1r4heFtAjYfZrWSTWb4eqw/LCv4yuD/AMAr06gAooooAKKKKACiiigAooooAKKKKACiiigAooooAKKKKACiiigAooooAKKKKACiiigAooooAKKKKACiiigAooooAKKKKACiiigAooooAKKKKACiiigAqK7t7e7t3t7qCKeFxh45UDKw9CDwalooAw9B8H+FtAtL600Xw/p1hbahIZbuGCBVSZiMZZenQVjXOj6p4XJn0FJdS0gEs+mM2ZYB6wMeo/6Zn8D2rtaKUoxkuWSug2d0c5o+qWOr2f2rT5xLGGKuMENGw6qynlWHoau1S8QeGFurw6vo1wNM1gDBmVcx3A7LMn8Y9+o7GqOla4z3w0jWbX+zNWx8sLNmO4A6tC/8Y9uo7ivKxGDdP3oar8V/Xc6ada+ktzboooriNwriviT4d8bavdafqHgnxuPDl1aq6Swz2YuLe5VsYLKejLjgj1rtaKcZOLuJq54QP2fpI/BkWlL4nFxq0/iWHX9Tvprbas8iE5REU/KOeK3Z/g6bx/ifHe60ot/HBQx+VCd9ptXAzk4bnB7cV61RWnt59yeRHI/CTw74i8KeC7XQvEniCDW7i0AignhtfJVIVUKiY7kAdT6111FFZt3dykrBRRRSGFZuu61Z6QkazeZNdTkrbWkC7pp29FX+ZPA7mqN1rV3qV5LpXheGO7uYyVuL2TP2a0PoSPvv/sD8SK2/Dfhuz0eSS7eSS+1Ocfv76fBkf/ZHZF9FHFejh8C371XRduv/AADnqV+kTLsPDd7rE8eoeLPLMaNvt9KjbdDH6GU/8tX/APHR2B610lzpmm3Lh7nT7SZwAu6SFWOPTkVbor0lZJJbHOZraBoLfe0XTT9bVP8ACmHw14cb72gaUfrZx/4Vq0UAY7eFfC7fe8N6OfrYx/8AxNRt4O8It97wtoh+thF/8TW5RQBz7eCPBjfe8JaCfrp8X/xNRnwD4Gbr4N8Pn/uHRf8AxNdJRQBzDfDvwC33vBfh4/8AcOi/+JqNvhr8PW+94H8On/uHRf8AxNdXRQByDfC/4cN97wL4cP8A3Dov8K5/xd4D8FaDPoWpaL4U0bTr1dXgVZ7azSNwCGyAQM816fXJ/Ev/AI9NE/7DNv8AyamtyZ/CyavNf2jvGmreCfh19r0Dy11jUL2HT7OSRcrE8h5fHsBx716VXFfGnwHH8RfAs/h/7abC7WZLmyugu7yZkOVJHp1Brija+pktzjpPAvjHwj4Y1rWbr4n67rX/ABI7w31reAFDN5LFXhI5j2t+lc38B/jFcW/hnwH4c8Q+G9eSLVl+xW2vXThormcE8DJ3EdBuNddp/h341appl9pXi7xD4XNjJpdxaBbK3fzLqR4iiPIzD5QCQTt61Qg+E3iCPwh8KtIN5p5n8Iaglzfne22RRniPjk898VenUq6L/jL4z3nhPWZU1j4d+IINCivVs21dnjEZLNtDhM5Kk9KTxl8bDofjDXPDGm+Btb1+60e2ju5pLNl2CFk3M7E/dwMcc5rzrxd+z7471jVtYZtS8M38d3qv2+HUr1Zjfqm8MIQ3KooHYV6nY/D3WIPiL478RNdWn2XxDosNhaoGO9JEj2kvxgDPpmi0QtExvD37QOm6vq3hxW8H6/Y6L4huBaWWrXKqInuD1QAEkgHjd+NcV4b+Kus+DfF3xRlufDXiLxLp1lrrSTTwSgw6fAMjHzHj/dHpXVW/wf8AEUfw8+GXh1r3TvtPhXWUvr1t7bJEDMSE45PPfFZ2s/Cf4ppd+O7fw74g8O22leMdQkkuUuInaWGFuNysBjcQWBH60/dDQ63xJ8bNNtrnSLHwr4d1PxXf6npq6otvZsqeTbN0Zy3frx7VT1H4/aLF4Z8K65p3h3VtT/4SOee1htINvnxXEWAYyvcliBkH3rm/GH7P97Hqehal4VXw7qh0/RotKuLTxBAzxSeX92VSvIbrW5a/CfXI3+G8oTw7Yt4b1O4vdQg06JoYGEmMCJcHJ45zilaIWieteGr+71TQbPUL/SrjSbqeIPLZTsDJA391iOCas6j/AMg+5/64v/6CanFQaj/yD7n/AK4v/wCgmph8SM3sWvhd/wAk48O/9g2D/wBAFdJXN/C7/knHh3/sGwf+gCukrtn8TOiOyCiiipGFFFFABRRRQAUUUUAFY/jXRI/EnhHVdCkbaL61eFX/ALjEfK31BwfwrYooA888A6tJrXg7TNQuCPtRh8q6A/hnjJSQf99q1btcr4fjj0P4h+KPDSgpFcSJrVop6bZsrKB9JUJP++K6qgAqlrmj6Zr+mS6RrFnHe2NwVE0EmdsgDAgHHUZA471drL8V6FZ+JfD93oeoS3cVtdKFke1mMUoAIPyuOR0oA8h/Y6hit/CvjCCCNIoo/FV2iIgwFACgADsK9yrz34a/B/wh8PdZm1Xw7JrCzTRvHIlzftLG24glip43fKOetehUAFFFYvjnWf8AhH/CGqawqGSW3t2MEY6ySn5Y1HuWKigBnwphTVPEfinxdv8AMSe7XS7M9hBbZDEfWVpP++RXodYXw/0NfDfgvSdEUfPa2yrKf70pGXb8WLH8a3aACiiigAooooAKKKKACiiigAooooAKKKKACiiigAooooAKKKKACiiigAooooAKKKKACiiigAooooAKKKKACiiigAooooAKKKKACiiigAooooAKKKKACiiigAooooAKoa7o+na3Ymz1K3WaPO5Gzh427MrDlWHqKv0U07A1c4aWfVvCreXrLS6lo2cJqSpmW3HpOo6j/poB9QOtdBBLFPAk8EiSxSKGR0YFWB6EEda2GAZSrAEHgg965C+8N3uizSX/AIT2eU7b7jSZG2wyepiP/LJ/b7p9B1rir4ONT3oaP8P+B+RpCq46PVG1RWboWtWerxyCDzIbmAhbm1mXZNA3oy/yPQ9jWlXlSjKD5ZKzOtNNXQUUUVIwoorI1rXYrG5j0+1t5NR1WYZisoCN2P77noif7R/DNXTpyqS5Yq7JlJRV2X9SvrPTbKS8v7mO3t4x80jnAHt7n2rGgtNX8WfNcLc6NoR/5Z/cu7se/eJD6fePtV7RvDE0l7FrHiaeO/1BOYIEB+zWn+4p+83+2efTFdTXr0MLCjq9ZfgvT/M5J1JT8kV9NsbPTbKKysLaK2tohhI41woFWKKK6SAooooAKKKKACiiigAooooAKKKKACuT+Jf/AB6aJ/2Gbf8Ak1dZXKfE/EejWF452xWuqW0sjHoq79pJ9vmpx3In8LJaKO9FcJkFFFFABRRRQAUUUUAFFFFABVfUf+Qfc/8AXF//AEE1Yqjr9wlroV/cyHCxW0jH8FNVD4kJ7Gh8Lv8AknHh3/sGwf8AoArpKxfAlnJp/gvRbGUESQWMKMD2IQZrartl8TOiOyCiiipGFFFFABRRRQAUUUUAFFFFAHnvxVRtL8R+FvFSRjy4rttLvW9IbnAVj7CVY/8Avo1uVZ+IGht4l8FatoccgimurZlgk/55yjmNvwYKfwrnPBWtDXPCemarKyJPcW6mdNw+SUfLIv4MGFAG1RTfMj/56J/30KPMj/56J/30KAHUU3zI/wDnon/fQo8yP/non/fQoAdXLeKI5NY8a+FfDUY3Qm6bVb3uPKt8FAfrK0f/AHya6fzI/wDnon/fQrE+GUS6t4z8U+KfMEkSSpo9kR0CQfNKR9ZXYf8AAKAPQ6KKKACiiigAooooAKKKKACiiigAooooAKKKKACiiigAooooAKKKKACiiigAooooAKKKKACiiigAooooAKKKKACiiigAooooAKKKKACiiigAooooAKKKKACiiigAooooAKKKKACiiigDD8SeG7TWJI7yOWSw1OAfuL6DiRf9luzp6qePpWNaa1d6fex6T4ohjtLqQhbe7jz9muz6KT9x/wDYb8Ca7Wq+pWNnqVlJZX9tFc28ow8ci5BrOrShVVp/eOMnB3iUaRiFUsxAAGST0Arnri11rwmC1ul3rmiDAES/PeWo9s/61Pr8w96fbaJqfiZluPEaPY6Xw0elK/zy+9ww6/7g49c1wRy+fNZvTv8A8A3eIVttRi6lqXiOZrXwwRFZg7ZtXkTMY55WFT/rG/2vuj36V0nhzQdP0K2aKzR3llO6e5mbfNO3952PJ/kO1aMMUUMKQwxpHGgCoiLhVA6AAdKfXowhGnHlgtDnbcneQUUUVQBRRRQAUUUUAFFFFABRRRQAUUUUAFFFFABVTWNPtdW0u5029jElvcxmORfY/wBat0U07aged6bqE+k3SeH/ABFIIr1Pktbp+I75B0ZT034+8vXPI4rerd1LT7HUrRrTULSC6gbrHKgZT+Brmn+H2iBj9ku9bsU/5522pzKg+g3HFRKlCTvexi4SWxY5o5qt/wAK/wBP/wCg74m/8G0v+NH/AAr/AE//AKD3if8A8G0v+NT7CP8AN+AuWXYs80c1W/4V/p//AEHvE/8A4Npf8aP+Ff6f/wBB7xP/AODaX/Gj2Ef5vwDll2LPNHNVv+Ff6f8A9B7xP/4Npf8AGj/hX+n/APQe8T/+DaX/ABo9hH+b8A5ZdizzRzVb/hX+n/8AQe8T/wDg2l/xo/4V/p//AEHvE/8A4Npf8aPYR/m/AOWXYsOyohd2CqBkknAArBgU+NL+K0swW0CCUSXl2OEumU5EMf8AeXIBZunGOcmtq28AeHkkEl4t/qhHRb+9knT/AL5Y7T+IrqYY44YlihjSONRhVUYCj0A7VcIRg7p3Y1Tb3HUUUUzYKKKKACiiigAooooAKKKKACiiigArlrr4c+A7q5lubjwfoks0zmSR2s0JdicknjqTXU0UAcl/wrP4e/8AQl6F/wCASf4Uf8Kz+Hv/AEJehf8AgEn+FdbRQByX/Cs/h7/0Jehf+ASf4Uf8Kz+Hv/Ql6F/4BJ/hXW0UAcl/wrP4e/8AQl6F/wCASf4V0OjaXpui6dHp2k2NtY2cWfLgt4wiLk5OAOOSSa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AUUUUAFFFFABRRRQB//Z">
            <a:extLst>
              <a:ext uri="{FF2B5EF4-FFF2-40B4-BE49-F238E27FC236}">
                <a16:creationId xmlns:a16="http://schemas.microsoft.com/office/drawing/2014/main" id="{D0936C4F-CC47-449E-BACA-6842E0C4876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03D52C8-8C2A-42BD-AFA6-1AAE682D252D}"/>
              </a:ext>
            </a:extLst>
          </p:cNvPr>
          <p:cNvSpPr/>
          <p:nvPr/>
        </p:nvSpPr>
        <p:spPr>
          <a:xfrm>
            <a:off x="4370664" y="3294452"/>
            <a:ext cx="37834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002E5F"/>
                </a:solidFill>
                <a:latin typeface="Arial"/>
                <a:cs typeface="Arial"/>
              </a:rPr>
              <a:t>Thank you for this opportunity !!  </a:t>
            </a:r>
          </a:p>
        </p:txBody>
      </p:sp>
    </p:spTree>
    <p:extLst>
      <p:ext uri="{BB962C8B-B14F-4D97-AF65-F5344CB8AC3E}">
        <p14:creationId xmlns:p14="http://schemas.microsoft.com/office/powerpoint/2010/main" val="3089079878"/>
      </p:ext>
    </p:extLst>
  </p:cSld>
  <p:clrMapOvr>
    <a:masterClrMapping/>
  </p:clrMapOvr>
  <p:transition spd="slow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C 2018 templat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666750">
          <a:lnSpc>
            <a:spcPct val="90000"/>
          </a:lnSpc>
          <a:spcBef>
            <a:spcPct val="0"/>
          </a:spcBef>
          <a:spcAft>
            <a:spcPct val="35000"/>
          </a:spcAft>
          <a:defRPr sz="15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19</TotalTime>
  <Words>91</Words>
  <Application>Microsoft Office PowerPoint</Application>
  <PresentationFormat>Widescreen</PresentationFormat>
  <Paragraphs>34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Tahoma</vt:lpstr>
      <vt:lpstr>Wingdings</vt:lpstr>
      <vt:lpstr>SLC 2018 template</vt:lpstr>
      <vt:lpstr>think-cell Slide</vt:lpstr>
      <vt:lpstr>Data Science Internship -  Nurture programme  Ambareesh Jonnavittula 21-Feb-2022 to 29-Apr-2022</vt:lpstr>
      <vt:lpstr>Project Introduction</vt:lpstr>
      <vt:lpstr>Understanding vs. Expectations</vt:lpstr>
      <vt:lpstr>Data at a glance</vt:lpstr>
      <vt:lpstr>Project Outcomes</vt:lpstr>
      <vt:lpstr>Learnings &amp; Challenges</vt:lpstr>
      <vt:lpstr>Any questions?</vt:lpstr>
      <vt:lpstr>En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142] Weather-induced Asset Failure Prediction – Data Science Methodology  12/04/2022</dc:title>
  <dc:creator>Jonnavittula, Ambareesh</dc:creator>
  <cp:lastModifiedBy>Jonnavittula, Ambareesh</cp:lastModifiedBy>
  <cp:revision>23</cp:revision>
  <dcterms:created xsi:type="dcterms:W3CDTF">2022-04-13T13:07:36Z</dcterms:created>
  <dcterms:modified xsi:type="dcterms:W3CDTF">2022-04-26T12:05:38Z</dcterms:modified>
</cp:coreProperties>
</file>